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8" r:id="rId1"/>
  </p:sldMasterIdLst>
  <p:notesMasterIdLst>
    <p:notesMasterId r:id="rId27"/>
  </p:notesMasterIdLst>
  <p:sldIdLst>
    <p:sldId id="256" r:id="rId2"/>
    <p:sldId id="257" r:id="rId3"/>
    <p:sldId id="259" r:id="rId4"/>
    <p:sldId id="260" r:id="rId5"/>
    <p:sldId id="287" r:id="rId6"/>
    <p:sldId id="292" r:id="rId7"/>
    <p:sldId id="261" r:id="rId8"/>
    <p:sldId id="289" r:id="rId9"/>
    <p:sldId id="288" r:id="rId10"/>
    <p:sldId id="265" r:id="rId11"/>
    <p:sldId id="290" r:id="rId12"/>
    <p:sldId id="291" r:id="rId13"/>
    <p:sldId id="272" r:id="rId14"/>
    <p:sldId id="294" r:id="rId15"/>
    <p:sldId id="297" r:id="rId16"/>
    <p:sldId id="295" r:id="rId17"/>
    <p:sldId id="271" r:id="rId18"/>
    <p:sldId id="298" r:id="rId19"/>
    <p:sldId id="299" r:id="rId20"/>
    <p:sldId id="301" r:id="rId21"/>
    <p:sldId id="300" r:id="rId22"/>
    <p:sldId id="296" r:id="rId23"/>
    <p:sldId id="273" r:id="rId24"/>
    <p:sldId id="278" r:id="rId25"/>
    <p:sldId id="293" r:id="rId26"/>
  </p:sldIdLst>
  <p:sldSz cx="9144000" cy="5143500" type="screen16x9"/>
  <p:notesSz cx="6858000" cy="9144000"/>
  <p:embeddedFontLst>
    <p:embeddedFont>
      <p:font typeface="Barlow" panose="020B0604020202020204" charset="0"/>
      <p:regular r:id="rId28"/>
      <p:bold r:id="rId29"/>
      <p:italic r:id="rId30"/>
      <p:boldItalic r:id="rId31"/>
    </p:embeddedFont>
    <p:embeddedFont>
      <p:font typeface="Barlow Light" panose="020B0604020202020204" charset="0"/>
      <p:regular r:id="rId32"/>
      <p:bold r:id="rId33"/>
      <p:italic r:id="rId34"/>
      <p:boldItalic r:id="rId35"/>
    </p:embeddedFont>
    <p:embeddedFont>
      <p:font typeface="Barlow SemiBold" panose="020B0604020202020204" charset="0"/>
      <p:regular r:id="rId36"/>
      <p:bold r:id="rId37"/>
      <p:italic r:id="rId38"/>
      <p:boldItalic r:id="rId39"/>
    </p:embeddedFont>
    <p:embeddedFont>
      <p:font typeface="Calibri" panose="020F0502020204030204" pitchFamily="34" charset="0"/>
      <p:regular r:id="rId40"/>
      <p:bold r:id="rId41"/>
      <p:italic r:id="rId42"/>
      <p:boldItalic r:id="rId43"/>
    </p:embeddedFont>
    <p:embeddedFont>
      <p:font typeface="Georgia" panose="02040502050405020303" pitchFamily="18" charset="0"/>
      <p:regular r:id="rId44"/>
      <p:bold r:id="rId45"/>
      <p:italic r:id="rId46"/>
      <p:boldItalic r:id="rId47"/>
    </p:embeddedFont>
    <p:embeddedFont>
      <p:font typeface="Montserrat" panose="020B0604020202020204" charset="0"/>
      <p:regular r:id="rId48"/>
      <p:bold r:id="rId49"/>
      <p:italic r:id="rId50"/>
      <p:boldItalic r:id="rId51"/>
    </p:embeddedFont>
    <p:embeddedFont>
      <p:font typeface="Raleway" panose="020B0604020202020204" charset="0"/>
      <p:regular r:id="rId52"/>
      <p:bold r:id="rId53"/>
      <p:italic r:id="rId54"/>
      <p:boldItalic r:id="rId55"/>
    </p:embeddedFont>
    <p:embeddedFont>
      <p:font typeface="Raleway Thin" panose="020B0604020202020204" charset="0"/>
      <p:regular r:id="rId56"/>
      <p:bold r:id="rId57"/>
      <p:italic r:id="rId58"/>
      <p:boldItalic r:id="rId59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2F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BBEF04-9D5F-4ECB-BDEB-5AF90A52C1C7}" v="80" dt="2021-02-17T22:58:39.212"/>
  </p1510:revLst>
</p1510:revInfo>
</file>

<file path=ppt/tableStyles.xml><?xml version="1.0" encoding="utf-8"?>
<a:tblStyleLst xmlns:a="http://schemas.openxmlformats.org/drawingml/2006/main" def="{5CD5B7B9-7AAB-4E71-8935-5ACDFAD8A81C}">
  <a:tblStyle styleId="{5CD5B7B9-7AAB-4E71-8935-5ACDFAD8A81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69598" autoAdjust="0"/>
  </p:normalViewPr>
  <p:slideViewPr>
    <p:cSldViewPr snapToGrid="0">
      <p:cViewPr varScale="1">
        <p:scale>
          <a:sx n="62" d="100"/>
          <a:sy n="62" d="100"/>
        </p:scale>
        <p:origin x="72" y="30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font" Target="fonts/font7.fntdata"/><Relationship Id="rId42" Type="http://schemas.openxmlformats.org/officeDocument/2006/relationships/font" Target="fonts/font15.fntdata"/><Relationship Id="rId47" Type="http://schemas.openxmlformats.org/officeDocument/2006/relationships/font" Target="fonts/font20.fntdata"/><Relationship Id="rId50" Type="http://schemas.openxmlformats.org/officeDocument/2006/relationships/font" Target="fonts/font23.fntdata"/><Relationship Id="rId55" Type="http://schemas.openxmlformats.org/officeDocument/2006/relationships/font" Target="fonts/font28.fntdata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font" Target="fonts/font2.fntdata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5.fntdata"/><Relationship Id="rId37" Type="http://schemas.openxmlformats.org/officeDocument/2006/relationships/font" Target="fonts/font10.fntdata"/><Relationship Id="rId40" Type="http://schemas.openxmlformats.org/officeDocument/2006/relationships/font" Target="fonts/font13.fntdata"/><Relationship Id="rId45" Type="http://schemas.openxmlformats.org/officeDocument/2006/relationships/font" Target="fonts/font18.fntdata"/><Relationship Id="rId53" Type="http://schemas.openxmlformats.org/officeDocument/2006/relationships/font" Target="fonts/font26.fntdata"/><Relationship Id="rId58" Type="http://schemas.openxmlformats.org/officeDocument/2006/relationships/font" Target="fonts/font31.fntdata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3.fntdata"/><Relationship Id="rId35" Type="http://schemas.openxmlformats.org/officeDocument/2006/relationships/font" Target="fonts/font8.fntdata"/><Relationship Id="rId43" Type="http://schemas.openxmlformats.org/officeDocument/2006/relationships/font" Target="fonts/font16.fntdata"/><Relationship Id="rId48" Type="http://schemas.openxmlformats.org/officeDocument/2006/relationships/font" Target="fonts/font21.fntdata"/><Relationship Id="rId56" Type="http://schemas.openxmlformats.org/officeDocument/2006/relationships/font" Target="fonts/font29.fntdata"/><Relationship Id="rId64" Type="http://schemas.microsoft.com/office/2016/11/relationships/changesInfo" Target="changesInfos/changesInfo1.xml"/><Relationship Id="rId8" Type="http://schemas.openxmlformats.org/officeDocument/2006/relationships/slide" Target="slides/slide7.xml"/><Relationship Id="rId51" Type="http://schemas.openxmlformats.org/officeDocument/2006/relationships/font" Target="fonts/font24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6.fntdata"/><Relationship Id="rId38" Type="http://schemas.openxmlformats.org/officeDocument/2006/relationships/font" Target="fonts/font11.fntdata"/><Relationship Id="rId46" Type="http://schemas.openxmlformats.org/officeDocument/2006/relationships/font" Target="fonts/font19.fntdata"/><Relationship Id="rId59" Type="http://schemas.openxmlformats.org/officeDocument/2006/relationships/font" Target="fonts/font32.fntdata"/><Relationship Id="rId20" Type="http://schemas.openxmlformats.org/officeDocument/2006/relationships/slide" Target="slides/slide19.xml"/><Relationship Id="rId41" Type="http://schemas.openxmlformats.org/officeDocument/2006/relationships/font" Target="fonts/font14.fntdata"/><Relationship Id="rId54" Type="http://schemas.openxmlformats.org/officeDocument/2006/relationships/font" Target="fonts/font27.fntdata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1.fntdata"/><Relationship Id="rId36" Type="http://schemas.openxmlformats.org/officeDocument/2006/relationships/font" Target="fonts/font9.fntdata"/><Relationship Id="rId49" Type="http://schemas.openxmlformats.org/officeDocument/2006/relationships/font" Target="fonts/font22.fntdata"/><Relationship Id="rId57" Type="http://schemas.openxmlformats.org/officeDocument/2006/relationships/font" Target="fonts/font30.fntdata"/><Relationship Id="rId10" Type="http://schemas.openxmlformats.org/officeDocument/2006/relationships/slide" Target="slides/slide9.xml"/><Relationship Id="rId31" Type="http://schemas.openxmlformats.org/officeDocument/2006/relationships/font" Target="fonts/font4.fntdata"/><Relationship Id="rId44" Type="http://schemas.openxmlformats.org/officeDocument/2006/relationships/font" Target="fonts/font17.fntdata"/><Relationship Id="rId52" Type="http://schemas.openxmlformats.org/officeDocument/2006/relationships/font" Target="fonts/font25.fntdata"/><Relationship Id="rId60" Type="http://schemas.openxmlformats.org/officeDocument/2006/relationships/presProps" Target="presProps.xml"/><Relationship Id="rId65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font" Target="fonts/font12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ao Hoang" userId="0e23db62feec2a5d" providerId="LiveId" clId="{3FBBEF04-9D5F-4ECB-BDEB-5AF90A52C1C7}"/>
    <pc:docChg chg="undo custSel addSld delSld modSld sldOrd">
      <pc:chgData name="Thao Hoang" userId="0e23db62feec2a5d" providerId="LiveId" clId="{3FBBEF04-9D5F-4ECB-BDEB-5AF90A52C1C7}" dt="2021-02-17T23:07:57.859" v="6158" actId="20577"/>
      <pc:docMkLst>
        <pc:docMk/>
      </pc:docMkLst>
      <pc:sldChg chg="modNotesTx">
        <pc:chgData name="Thao Hoang" userId="0e23db62feec2a5d" providerId="LiveId" clId="{3FBBEF04-9D5F-4ECB-BDEB-5AF90A52C1C7}" dt="2021-02-17T03:39:13.893" v="3031" actId="20577"/>
        <pc:sldMkLst>
          <pc:docMk/>
          <pc:sldMk cId="0" sldId="256"/>
        </pc:sldMkLst>
      </pc:sldChg>
      <pc:sldChg chg="addSp delSp modSp mod">
        <pc:chgData name="Thao Hoang" userId="0e23db62feec2a5d" providerId="LiveId" clId="{3FBBEF04-9D5F-4ECB-BDEB-5AF90A52C1C7}" dt="2021-02-17T22:51:07.799" v="5578" actId="478"/>
        <pc:sldMkLst>
          <pc:docMk/>
          <pc:sldMk cId="0" sldId="257"/>
        </pc:sldMkLst>
        <pc:spChg chg="add del mod">
          <ac:chgData name="Thao Hoang" userId="0e23db62feec2a5d" providerId="LiveId" clId="{3FBBEF04-9D5F-4ECB-BDEB-5AF90A52C1C7}" dt="2021-02-17T22:51:07.799" v="5578" actId="478"/>
          <ac:spMkLst>
            <pc:docMk/>
            <pc:sldMk cId="0" sldId="257"/>
            <ac:spMk id="4" creationId="{FB92EF9D-419F-4566-822E-FECBB1070852}"/>
          </ac:spMkLst>
        </pc:spChg>
        <pc:spChg chg="del mod">
          <ac:chgData name="Thao Hoang" userId="0e23db62feec2a5d" providerId="LiveId" clId="{3FBBEF04-9D5F-4ECB-BDEB-5AF90A52C1C7}" dt="2021-02-17T22:38:07.808" v="4855" actId="21"/>
          <ac:spMkLst>
            <pc:docMk/>
            <pc:sldMk cId="0" sldId="257"/>
            <ac:spMk id="346" creationId="{00000000-0000-0000-0000-000000000000}"/>
          </ac:spMkLst>
        </pc:spChg>
      </pc:sldChg>
      <pc:sldChg chg="modNotesTx">
        <pc:chgData name="Thao Hoang" userId="0e23db62feec2a5d" providerId="LiveId" clId="{3FBBEF04-9D5F-4ECB-BDEB-5AF90A52C1C7}" dt="2021-02-17T03:40:01.109" v="3036" actId="20577"/>
        <pc:sldMkLst>
          <pc:docMk/>
          <pc:sldMk cId="0" sldId="259"/>
        </pc:sldMkLst>
      </pc:sldChg>
      <pc:sldChg chg="modSp mod modNotesTx">
        <pc:chgData name="Thao Hoang" userId="0e23db62feec2a5d" providerId="LiveId" clId="{3FBBEF04-9D5F-4ECB-BDEB-5AF90A52C1C7}" dt="2021-02-17T22:51:21.432" v="5582" actId="20577"/>
        <pc:sldMkLst>
          <pc:docMk/>
          <pc:sldMk cId="0" sldId="260"/>
        </pc:sldMkLst>
        <pc:spChg chg="mod">
          <ac:chgData name="Thao Hoang" userId="0e23db62feec2a5d" providerId="LiveId" clId="{3FBBEF04-9D5F-4ECB-BDEB-5AF90A52C1C7}" dt="2021-02-17T22:51:21.432" v="5582" actId="20577"/>
          <ac:spMkLst>
            <pc:docMk/>
            <pc:sldMk cId="0" sldId="260"/>
            <ac:spMk id="518" creationId="{00000000-0000-0000-0000-000000000000}"/>
          </ac:spMkLst>
        </pc:spChg>
      </pc:sldChg>
      <pc:sldChg chg="addSp modSp mod">
        <pc:chgData name="Thao Hoang" userId="0e23db62feec2a5d" providerId="LiveId" clId="{3FBBEF04-9D5F-4ECB-BDEB-5AF90A52C1C7}" dt="2021-02-17T02:15:39.740" v="362" actId="1076"/>
        <pc:sldMkLst>
          <pc:docMk/>
          <pc:sldMk cId="0" sldId="261"/>
        </pc:sldMkLst>
        <pc:spChg chg="mod">
          <ac:chgData name="Thao Hoang" userId="0e23db62feec2a5d" providerId="LiveId" clId="{3FBBEF04-9D5F-4ECB-BDEB-5AF90A52C1C7}" dt="2021-02-17T02:14:32.986" v="359"/>
          <ac:spMkLst>
            <pc:docMk/>
            <pc:sldMk cId="0" sldId="261"/>
            <ac:spMk id="5" creationId="{93CD8CF6-48EA-4809-BAC3-9EFADC4C5449}"/>
          </ac:spMkLst>
        </pc:spChg>
        <pc:picChg chg="add mod">
          <ac:chgData name="Thao Hoang" userId="0e23db62feec2a5d" providerId="LiveId" clId="{3FBBEF04-9D5F-4ECB-BDEB-5AF90A52C1C7}" dt="2021-02-17T02:15:39.740" v="362" actId="1076"/>
          <ac:picMkLst>
            <pc:docMk/>
            <pc:sldMk cId="0" sldId="261"/>
            <ac:picMk id="3074" creationId="{F5CB9060-7FCB-47D1-A9FB-5B05CED824D3}"/>
          </ac:picMkLst>
        </pc:picChg>
      </pc:sldChg>
      <pc:sldChg chg="del">
        <pc:chgData name="Thao Hoang" userId="0e23db62feec2a5d" providerId="LiveId" clId="{3FBBEF04-9D5F-4ECB-BDEB-5AF90A52C1C7}" dt="2021-02-17T03:02:37.086" v="1370" actId="47"/>
        <pc:sldMkLst>
          <pc:docMk/>
          <pc:sldMk cId="0" sldId="262"/>
        </pc:sldMkLst>
      </pc:sldChg>
      <pc:sldChg chg="del">
        <pc:chgData name="Thao Hoang" userId="0e23db62feec2a5d" providerId="LiveId" clId="{3FBBEF04-9D5F-4ECB-BDEB-5AF90A52C1C7}" dt="2021-02-17T03:02:41.356" v="1371" actId="47"/>
        <pc:sldMkLst>
          <pc:docMk/>
          <pc:sldMk cId="0" sldId="263"/>
        </pc:sldMkLst>
      </pc:sldChg>
      <pc:sldChg chg="del">
        <pc:chgData name="Thao Hoang" userId="0e23db62feec2a5d" providerId="LiveId" clId="{3FBBEF04-9D5F-4ECB-BDEB-5AF90A52C1C7}" dt="2021-02-17T03:11:26.162" v="1592" actId="47"/>
        <pc:sldMkLst>
          <pc:docMk/>
          <pc:sldMk cId="0" sldId="264"/>
        </pc:sldMkLst>
      </pc:sldChg>
      <pc:sldChg chg="modSp mod">
        <pc:chgData name="Thao Hoang" userId="0e23db62feec2a5d" providerId="LiveId" clId="{3FBBEF04-9D5F-4ECB-BDEB-5AF90A52C1C7}" dt="2021-02-17T22:52:09.609" v="5587" actId="20577"/>
        <pc:sldMkLst>
          <pc:docMk/>
          <pc:sldMk cId="0" sldId="265"/>
        </pc:sldMkLst>
        <pc:spChg chg="mod">
          <ac:chgData name="Thao Hoang" userId="0e23db62feec2a5d" providerId="LiveId" clId="{3FBBEF04-9D5F-4ECB-BDEB-5AF90A52C1C7}" dt="2021-02-17T22:52:09.609" v="5587" actId="20577"/>
          <ac:spMkLst>
            <pc:docMk/>
            <pc:sldMk cId="0" sldId="265"/>
            <ac:spMk id="3" creationId="{458A2F9D-7EF0-47C9-8717-57997AC2B44D}"/>
          </ac:spMkLst>
        </pc:spChg>
      </pc:sldChg>
      <pc:sldChg chg="del">
        <pc:chgData name="Thao Hoang" userId="0e23db62feec2a5d" providerId="LiveId" clId="{3FBBEF04-9D5F-4ECB-BDEB-5AF90A52C1C7}" dt="2021-02-17T03:02:43.886" v="1372" actId="47"/>
        <pc:sldMkLst>
          <pc:docMk/>
          <pc:sldMk cId="0" sldId="266"/>
        </pc:sldMkLst>
      </pc:sldChg>
      <pc:sldChg chg="del">
        <pc:chgData name="Thao Hoang" userId="0e23db62feec2a5d" providerId="LiveId" clId="{3FBBEF04-9D5F-4ECB-BDEB-5AF90A52C1C7}" dt="2021-02-17T03:02:50.101" v="1373" actId="47"/>
        <pc:sldMkLst>
          <pc:docMk/>
          <pc:sldMk cId="0" sldId="267"/>
        </pc:sldMkLst>
      </pc:sldChg>
      <pc:sldChg chg="del">
        <pc:chgData name="Thao Hoang" userId="0e23db62feec2a5d" providerId="LiveId" clId="{3FBBEF04-9D5F-4ECB-BDEB-5AF90A52C1C7}" dt="2021-02-17T03:02:53.274" v="1374" actId="47"/>
        <pc:sldMkLst>
          <pc:docMk/>
          <pc:sldMk cId="0" sldId="268"/>
        </pc:sldMkLst>
      </pc:sldChg>
      <pc:sldChg chg="del ord">
        <pc:chgData name="Thao Hoang" userId="0e23db62feec2a5d" providerId="LiveId" clId="{3FBBEF04-9D5F-4ECB-BDEB-5AF90A52C1C7}" dt="2021-02-17T03:03:02.656" v="1377" actId="47"/>
        <pc:sldMkLst>
          <pc:docMk/>
          <pc:sldMk cId="0" sldId="269"/>
        </pc:sldMkLst>
      </pc:sldChg>
      <pc:sldChg chg="del">
        <pc:chgData name="Thao Hoang" userId="0e23db62feec2a5d" providerId="LiveId" clId="{3FBBEF04-9D5F-4ECB-BDEB-5AF90A52C1C7}" dt="2021-02-17T03:03:10.860" v="1378" actId="47"/>
        <pc:sldMkLst>
          <pc:docMk/>
          <pc:sldMk cId="0" sldId="270"/>
        </pc:sldMkLst>
      </pc:sldChg>
      <pc:sldChg chg="addSp delSp modSp mod ord modNotesTx">
        <pc:chgData name="Thao Hoang" userId="0e23db62feec2a5d" providerId="LiveId" clId="{3FBBEF04-9D5F-4ECB-BDEB-5AF90A52C1C7}" dt="2021-02-17T22:29:17.621" v="3625" actId="20577"/>
        <pc:sldMkLst>
          <pc:docMk/>
          <pc:sldMk cId="0" sldId="271"/>
        </pc:sldMkLst>
        <pc:spChg chg="add del mod">
          <ac:chgData name="Thao Hoang" userId="0e23db62feec2a5d" providerId="LiveId" clId="{3FBBEF04-9D5F-4ECB-BDEB-5AF90A52C1C7}" dt="2021-02-17T03:10:01.876" v="1579" actId="478"/>
          <ac:spMkLst>
            <pc:docMk/>
            <pc:sldMk cId="0" sldId="271"/>
            <ac:spMk id="531" creationId="{E4592595-653B-4B2F-9745-6B9B97568301}"/>
          </ac:spMkLst>
        </pc:spChg>
        <pc:spChg chg="mod">
          <ac:chgData name="Thao Hoang" userId="0e23db62feec2a5d" providerId="LiveId" clId="{3FBBEF04-9D5F-4ECB-BDEB-5AF90A52C1C7}" dt="2021-02-17T03:05:00.352" v="1494" actId="20577"/>
          <ac:spMkLst>
            <pc:docMk/>
            <pc:sldMk cId="0" sldId="271"/>
            <ac:spMk id="1168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4:17.284" v="1464" actId="20577"/>
          <ac:spMkLst>
            <pc:docMk/>
            <pc:sldMk cId="0" sldId="271"/>
            <ac:spMk id="1169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45.968" v="1736" actId="20577"/>
          <ac:spMkLst>
            <pc:docMk/>
            <pc:sldMk cId="0" sldId="271"/>
            <ac:spMk id="1170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23.231" v="1732" actId="20577"/>
          <ac:spMkLst>
            <pc:docMk/>
            <pc:sldMk cId="0" sldId="271"/>
            <ac:spMk id="1171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7:01.356" v="1740" actId="20577"/>
          <ac:spMkLst>
            <pc:docMk/>
            <pc:sldMk cId="0" sldId="271"/>
            <ac:spMk id="1172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5:49.141" v="1557" actId="20577"/>
          <ac:spMkLst>
            <pc:docMk/>
            <pc:sldMk cId="0" sldId="271"/>
            <ac:spMk id="1173" creationId="{00000000-0000-0000-0000-000000000000}"/>
          </ac:spMkLst>
        </pc:spChg>
        <pc:grpChg chg="del">
          <ac:chgData name="Thao Hoang" userId="0e23db62feec2a5d" providerId="LiveId" clId="{3FBBEF04-9D5F-4ECB-BDEB-5AF90A52C1C7}" dt="2021-02-17T03:04:09.292" v="1445" actId="478"/>
          <ac:grpSpMkLst>
            <pc:docMk/>
            <pc:sldMk cId="0" sldId="271"/>
            <ac:grpSpMk id="1175" creationId="{00000000-0000-0000-0000-000000000000}"/>
          </ac:grpSpMkLst>
        </pc:grpChg>
        <pc:picChg chg="add mod">
          <ac:chgData name="Thao Hoang" userId="0e23db62feec2a5d" providerId="LiveId" clId="{3FBBEF04-9D5F-4ECB-BDEB-5AF90A52C1C7}" dt="2021-02-17T03:09:20.961" v="1574" actId="1076"/>
          <ac:picMkLst>
            <pc:docMk/>
            <pc:sldMk cId="0" sldId="271"/>
            <ac:picMk id="5122" creationId="{21D6997C-FBF3-4D87-A77A-6DB94AE35C0E}"/>
          </ac:picMkLst>
        </pc:picChg>
      </pc:sldChg>
      <pc:sldChg chg="addSp modSp mod">
        <pc:chgData name="Thao Hoang" userId="0e23db62feec2a5d" providerId="LiveId" clId="{3FBBEF04-9D5F-4ECB-BDEB-5AF90A52C1C7}" dt="2021-02-17T02:43:37.239" v="578" actId="122"/>
        <pc:sldMkLst>
          <pc:docMk/>
          <pc:sldMk cId="4220059410" sldId="272"/>
        </pc:sldMkLst>
        <pc:spChg chg="add mod">
          <ac:chgData name="Thao Hoang" userId="0e23db62feec2a5d" providerId="LiveId" clId="{3FBBEF04-9D5F-4ECB-BDEB-5AF90A52C1C7}" dt="2021-02-17T02:43:37.239" v="578" actId="122"/>
          <ac:spMkLst>
            <pc:docMk/>
            <pc:sldMk cId="4220059410" sldId="272"/>
            <ac:spMk id="2" creationId="{06ED3DD8-082F-42E7-80A2-8951D7EBA4D7}"/>
          </ac:spMkLst>
        </pc:spChg>
      </pc:sldChg>
      <pc:sldChg chg="modSp mod">
        <pc:chgData name="Thao Hoang" userId="0e23db62feec2a5d" providerId="LiveId" clId="{3FBBEF04-9D5F-4ECB-BDEB-5AF90A52C1C7}" dt="2021-02-17T22:33:21.482" v="4362" actId="14100"/>
        <pc:sldMkLst>
          <pc:docMk/>
          <pc:sldMk cId="0" sldId="273"/>
        </pc:sldMkLst>
        <pc:spChg chg="mod">
          <ac:chgData name="Thao Hoang" userId="0e23db62feec2a5d" providerId="LiveId" clId="{3FBBEF04-9D5F-4ECB-BDEB-5AF90A52C1C7}" dt="2021-02-17T03:11:33.484" v="1611" actId="20577"/>
          <ac:spMkLst>
            <pc:docMk/>
            <pc:sldMk cId="0" sldId="273"/>
            <ac:spMk id="1734" creationId="{00000000-0000-0000-0000-000000000000}"/>
          </ac:spMkLst>
        </pc:spChg>
        <pc:spChg chg="mod">
          <ac:chgData name="Thao Hoang" userId="0e23db62feec2a5d" providerId="LiveId" clId="{3FBBEF04-9D5F-4ECB-BDEB-5AF90A52C1C7}" dt="2021-02-17T03:21:00.702" v="1940" actId="115"/>
          <ac:spMkLst>
            <pc:docMk/>
            <pc:sldMk cId="0" sldId="273"/>
            <ac:spMk id="1735" creationId="{00000000-0000-0000-0000-000000000000}"/>
          </ac:spMkLst>
        </pc:spChg>
        <pc:spChg chg="mod">
          <ac:chgData name="Thao Hoang" userId="0e23db62feec2a5d" providerId="LiveId" clId="{3FBBEF04-9D5F-4ECB-BDEB-5AF90A52C1C7}" dt="2021-02-17T03:21:42.993" v="2080" actId="20577"/>
          <ac:spMkLst>
            <pc:docMk/>
            <pc:sldMk cId="0" sldId="273"/>
            <ac:spMk id="1736" creationId="{00000000-0000-0000-0000-000000000000}"/>
          </ac:spMkLst>
        </pc:spChg>
        <pc:spChg chg="mod">
          <ac:chgData name="Thao Hoang" userId="0e23db62feec2a5d" providerId="LiveId" clId="{3FBBEF04-9D5F-4ECB-BDEB-5AF90A52C1C7}" dt="2021-02-17T22:27:45.038" v="3317" actId="20577"/>
          <ac:spMkLst>
            <pc:docMk/>
            <pc:sldMk cId="0" sldId="273"/>
            <ac:spMk id="1737" creationId="{00000000-0000-0000-0000-000000000000}"/>
          </ac:spMkLst>
        </pc:spChg>
        <pc:spChg chg="mod">
          <ac:chgData name="Thao Hoang" userId="0e23db62feec2a5d" providerId="LiveId" clId="{3FBBEF04-9D5F-4ECB-BDEB-5AF90A52C1C7}" dt="2021-02-17T22:33:21.482" v="4362" actId="14100"/>
          <ac:spMkLst>
            <pc:docMk/>
            <pc:sldMk cId="0" sldId="273"/>
            <ac:spMk id="1739" creationId="{00000000-0000-0000-0000-000000000000}"/>
          </ac:spMkLst>
        </pc:spChg>
        <pc:spChg chg="mod">
          <ac:chgData name="Thao Hoang" userId="0e23db62feec2a5d" providerId="LiveId" clId="{3FBBEF04-9D5F-4ECB-BDEB-5AF90A52C1C7}" dt="2021-02-17T03:31:18.267" v="2854" actId="20577"/>
          <ac:spMkLst>
            <pc:docMk/>
            <pc:sldMk cId="0" sldId="273"/>
            <ac:spMk id="1740" creationId="{00000000-0000-0000-0000-000000000000}"/>
          </ac:spMkLst>
        </pc:spChg>
        <pc:spChg chg="mod">
          <ac:chgData name="Thao Hoang" userId="0e23db62feec2a5d" providerId="LiveId" clId="{3FBBEF04-9D5F-4ECB-BDEB-5AF90A52C1C7}" dt="2021-02-17T03:29:10.880" v="2833" actId="20577"/>
          <ac:spMkLst>
            <pc:docMk/>
            <pc:sldMk cId="0" sldId="273"/>
            <ac:spMk id="1741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1:40.446" v="1612" actId="47"/>
        <pc:sldMkLst>
          <pc:docMk/>
          <pc:sldMk cId="0" sldId="274"/>
        </pc:sldMkLst>
      </pc:sldChg>
      <pc:sldChg chg="del">
        <pc:chgData name="Thao Hoang" userId="0e23db62feec2a5d" providerId="LiveId" clId="{3FBBEF04-9D5F-4ECB-BDEB-5AF90A52C1C7}" dt="2021-02-17T03:11:42.667" v="1613" actId="47"/>
        <pc:sldMkLst>
          <pc:docMk/>
          <pc:sldMk cId="0" sldId="275"/>
        </pc:sldMkLst>
      </pc:sldChg>
      <pc:sldChg chg="del">
        <pc:chgData name="Thao Hoang" userId="0e23db62feec2a5d" providerId="LiveId" clId="{3FBBEF04-9D5F-4ECB-BDEB-5AF90A52C1C7}" dt="2021-02-17T03:12:25.073" v="1696" actId="47"/>
        <pc:sldMkLst>
          <pc:docMk/>
          <pc:sldMk cId="0" sldId="276"/>
        </pc:sldMkLst>
      </pc:sldChg>
      <pc:sldChg chg="del">
        <pc:chgData name="Thao Hoang" userId="0e23db62feec2a5d" providerId="LiveId" clId="{3FBBEF04-9D5F-4ECB-BDEB-5AF90A52C1C7}" dt="2021-02-17T03:12:26.148" v="1697" actId="47"/>
        <pc:sldMkLst>
          <pc:docMk/>
          <pc:sldMk cId="0" sldId="277"/>
        </pc:sldMkLst>
      </pc:sldChg>
      <pc:sldChg chg="modSp mod">
        <pc:chgData name="Thao Hoang" userId="0e23db62feec2a5d" providerId="LiveId" clId="{3FBBEF04-9D5F-4ECB-BDEB-5AF90A52C1C7}" dt="2021-02-17T03:12:41.618" v="1698" actId="6549"/>
        <pc:sldMkLst>
          <pc:docMk/>
          <pc:sldMk cId="0" sldId="278"/>
        </pc:sldMkLst>
        <pc:spChg chg="mod">
          <ac:chgData name="Thao Hoang" userId="0e23db62feec2a5d" providerId="LiveId" clId="{3FBBEF04-9D5F-4ECB-BDEB-5AF90A52C1C7}" dt="2021-02-17T03:12:41.618" v="1698" actId="6549"/>
          <ac:spMkLst>
            <pc:docMk/>
            <pc:sldMk cId="0" sldId="278"/>
            <ac:spMk id="2207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2:52.324" v="1699" actId="47"/>
        <pc:sldMkLst>
          <pc:docMk/>
          <pc:sldMk cId="0" sldId="279"/>
        </pc:sldMkLst>
      </pc:sldChg>
      <pc:sldChg chg="del">
        <pc:chgData name="Thao Hoang" userId="0e23db62feec2a5d" providerId="LiveId" clId="{3FBBEF04-9D5F-4ECB-BDEB-5AF90A52C1C7}" dt="2021-02-17T03:12:58.083" v="1700" actId="47"/>
        <pc:sldMkLst>
          <pc:docMk/>
          <pc:sldMk cId="0" sldId="280"/>
        </pc:sldMkLst>
      </pc:sldChg>
      <pc:sldChg chg="del">
        <pc:chgData name="Thao Hoang" userId="0e23db62feec2a5d" providerId="LiveId" clId="{3FBBEF04-9D5F-4ECB-BDEB-5AF90A52C1C7}" dt="2021-02-17T03:13:01.501" v="1701" actId="47"/>
        <pc:sldMkLst>
          <pc:docMk/>
          <pc:sldMk cId="0" sldId="281"/>
        </pc:sldMkLst>
      </pc:sldChg>
      <pc:sldChg chg="del">
        <pc:chgData name="Thao Hoang" userId="0e23db62feec2a5d" providerId="LiveId" clId="{3FBBEF04-9D5F-4ECB-BDEB-5AF90A52C1C7}" dt="2021-02-17T03:13:02.186" v="1702" actId="47"/>
        <pc:sldMkLst>
          <pc:docMk/>
          <pc:sldMk cId="0" sldId="282"/>
        </pc:sldMkLst>
      </pc:sldChg>
      <pc:sldChg chg="del">
        <pc:chgData name="Thao Hoang" userId="0e23db62feec2a5d" providerId="LiveId" clId="{3FBBEF04-9D5F-4ECB-BDEB-5AF90A52C1C7}" dt="2021-02-17T03:13:02.977" v="1703" actId="47"/>
        <pc:sldMkLst>
          <pc:docMk/>
          <pc:sldMk cId="0" sldId="283"/>
        </pc:sldMkLst>
      </pc:sldChg>
      <pc:sldChg chg="del">
        <pc:chgData name="Thao Hoang" userId="0e23db62feec2a5d" providerId="LiveId" clId="{3FBBEF04-9D5F-4ECB-BDEB-5AF90A52C1C7}" dt="2021-02-17T03:13:03.580" v="1704" actId="47"/>
        <pc:sldMkLst>
          <pc:docMk/>
          <pc:sldMk cId="0" sldId="284"/>
        </pc:sldMkLst>
      </pc:sldChg>
      <pc:sldChg chg="del">
        <pc:chgData name="Thao Hoang" userId="0e23db62feec2a5d" providerId="LiveId" clId="{3FBBEF04-9D5F-4ECB-BDEB-5AF90A52C1C7}" dt="2021-02-17T03:13:04.075" v="1705" actId="47"/>
        <pc:sldMkLst>
          <pc:docMk/>
          <pc:sldMk cId="0" sldId="285"/>
        </pc:sldMkLst>
      </pc:sldChg>
      <pc:sldChg chg="del">
        <pc:chgData name="Thao Hoang" userId="0e23db62feec2a5d" providerId="LiveId" clId="{3FBBEF04-9D5F-4ECB-BDEB-5AF90A52C1C7}" dt="2021-02-17T03:13:05.342" v="1706" actId="47"/>
        <pc:sldMkLst>
          <pc:docMk/>
          <pc:sldMk cId="0" sldId="286"/>
        </pc:sldMkLst>
      </pc:sldChg>
      <pc:sldChg chg="modSp mod modNotesTx">
        <pc:chgData name="Thao Hoang" userId="0e23db62feec2a5d" providerId="LiveId" clId="{3FBBEF04-9D5F-4ECB-BDEB-5AF90A52C1C7}" dt="2021-02-17T22:23:15.409" v="3045" actId="20577"/>
        <pc:sldMkLst>
          <pc:docMk/>
          <pc:sldMk cId="229311856" sldId="287"/>
        </pc:sldMkLst>
        <pc:spChg chg="mod">
          <ac:chgData name="Thao Hoang" userId="0e23db62feec2a5d" providerId="LiveId" clId="{3FBBEF04-9D5F-4ECB-BDEB-5AF90A52C1C7}" dt="2021-02-17T22:23:15.409" v="3045" actId="20577"/>
          <ac:spMkLst>
            <pc:docMk/>
            <pc:sldMk cId="229311856" sldId="287"/>
            <ac:spMk id="406" creationId="{00000000-0000-0000-0000-000000000000}"/>
          </ac:spMkLst>
        </pc:spChg>
      </pc:sldChg>
      <pc:sldChg chg="addSp modSp mod">
        <pc:chgData name="Thao Hoang" userId="0e23db62feec2a5d" providerId="LiveId" clId="{3FBBEF04-9D5F-4ECB-BDEB-5AF90A52C1C7}" dt="2021-02-17T22:51:46.817" v="5583" actId="1076"/>
        <pc:sldMkLst>
          <pc:docMk/>
          <pc:sldMk cId="1092614026" sldId="288"/>
        </pc:sldMkLst>
        <pc:spChg chg="mod">
          <ac:chgData name="Thao Hoang" userId="0e23db62feec2a5d" providerId="LiveId" clId="{3FBBEF04-9D5F-4ECB-BDEB-5AF90A52C1C7}" dt="2021-02-17T02:34:17.784" v="502" actId="14100"/>
          <ac:spMkLst>
            <pc:docMk/>
            <pc:sldMk cId="1092614026" sldId="288"/>
            <ac:spMk id="5" creationId="{874E0F9A-7FDE-4059-9CB1-9CD7A969DBF0}"/>
          </ac:spMkLst>
        </pc:spChg>
        <pc:picChg chg="add mod">
          <ac:chgData name="Thao Hoang" userId="0e23db62feec2a5d" providerId="LiveId" clId="{3FBBEF04-9D5F-4ECB-BDEB-5AF90A52C1C7}" dt="2021-02-17T02:34:43.391" v="505" actId="14100"/>
          <ac:picMkLst>
            <pc:docMk/>
            <pc:sldMk cId="1092614026" sldId="288"/>
            <ac:picMk id="7" creationId="{CCCD3D14-9E36-4F15-8AC2-EBD730ADF68F}"/>
          </ac:picMkLst>
        </pc:picChg>
        <pc:picChg chg="add mod">
          <ac:chgData name="Thao Hoang" userId="0e23db62feec2a5d" providerId="LiveId" clId="{3FBBEF04-9D5F-4ECB-BDEB-5AF90A52C1C7}" dt="2021-02-17T22:51:46.817" v="5583" actId="1076"/>
          <ac:picMkLst>
            <pc:docMk/>
            <pc:sldMk cId="1092614026" sldId="288"/>
            <ac:picMk id="4098" creationId="{C50BF038-1D52-4F70-AE6A-26BAD6B054CD}"/>
          </ac:picMkLst>
        </pc:picChg>
      </pc:sldChg>
      <pc:sldChg chg="modSp mod">
        <pc:chgData name="Thao Hoang" userId="0e23db62feec2a5d" providerId="LiveId" clId="{3FBBEF04-9D5F-4ECB-BDEB-5AF90A52C1C7}" dt="2021-02-17T02:17:52.227" v="412" actId="20577"/>
        <pc:sldMkLst>
          <pc:docMk/>
          <pc:sldMk cId="4186107268" sldId="289"/>
        </pc:sldMkLst>
        <pc:spChg chg="mod">
          <ac:chgData name="Thao Hoang" userId="0e23db62feec2a5d" providerId="LiveId" clId="{3FBBEF04-9D5F-4ECB-BDEB-5AF90A52C1C7}" dt="2021-02-17T02:17:52.227" v="412" actId="20577"/>
          <ac:spMkLst>
            <pc:docMk/>
            <pc:sldMk cId="4186107268" sldId="289"/>
            <ac:spMk id="5" creationId="{30C0ECFD-2B7F-4EAA-8641-A744150483D5}"/>
          </ac:spMkLst>
        </pc:spChg>
      </pc:sldChg>
      <pc:sldChg chg="modSp mod modNotesTx">
        <pc:chgData name="Thao Hoang" userId="0e23db62feec2a5d" providerId="LiveId" clId="{3FBBEF04-9D5F-4ECB-BDEB-5AF90A52C1C7}" dt="2021-02-17T22:24:39.071" v="3057" actId="20577"/>
        <pc:sldMkLst>
          <pc:docMk/>
          <pc:sldMk cId="796415397" sldId="290"/>
        </pc:sldMkLst>
        <pc:spChg chg="mod">
          <ac:chgData name="Thao Hoang" userId="0e23db62feec2a5d" providerId="LiveId" clId="{3FBBEF04-9D5F-4ECB-BDEB-5AF90A52C1C7}" dt="2021-02-17T22:24:39.071" v="3057" actId="20577"/>
          <ac:spMkLst>
            <pc:docMk/>
            <pc:sldMk cId="796415397" sldId="290"/>
            <ac:spMk id="406" creationId="{00000000-0000-0000-0000-000000000000}"/>
          </ac:spMkLst>
        </pc:spChg>
      </pc:sldChg>
      <pc:sldChg chg="addSp delSp modSp mod">
        <pc:chgData name="Thao Hoang" userId="0e23db62feec2a5d" providerId="LiveId" clId="{3FBBEF04-9D5F-4ECB-BDEB-5AF90A52C1C7}" dt="2021-02-17T02:41:50.407" v="565" actId="478"/>
        <pc:sldMkLst>
          <pc:docMk/>
          <pc:sldMk cId="191974374" sldId="291"/>
        </pc:sldMkLst>
        <pc:spChg chg="add">
          <ac:chgData name="Thao Hoang" userId="0e23db62feec2a5d" providerId="LiveId" clId="{3FBBEF04-9D5F-4ECB-BDEB-5AF90A52C1C7}" dt="2021-02-17T02:36:44.469" v="529"/>
          <ac:spMkLst>
            <pc:docMk/>
            <pc:sldMk cId="191974374" sldId="291"/>
            <ac:spMk id="3" creationId="{1DA84BB3-95D5-4093-A5FF-81D8DF1583FA}"/>
          </ac:spMkLst>
        </pc:spChg>
        <pc:spChg chg="del">
          <ac:chgData name="Thao Hoang" userId="0e23db62feec2a5d" providerId="LiveId" clId="{3FBBEF04-9D5F-4ECB-BDEB-5AF90A52C1C7}" dt="2021-02-17T02:41:50.407" v="565" actId="478"/>
          <ac:spMkLst>
            <pc:docMk/>
            <pc:sldMk cId="191974374" sldId="291"/>
            <ac:spMk id="4" creationId="{95DE9012-36D1-461B-8491-F028A58DAF48}"/>
          </ac:spMkLst>
        </pc:spChg>
        <pc:spChg chg="add del mod">
          <ac:chgData name="Thao Hoang" userId="0e23db62feec2a5d" providerId="LiveId" clId="{3FBBEF04-9D5F-4ECB-BDEB-5AF90A52C1C7}" dt="2021-02-17T02:38:09.578" v="544" actId="14100"/>
          <ac:spMkLst>
            <pc:docMk/>
            <pc:sldMk cId="191974374" sldId="291"/>
            <ac:spMk id="8" creationId="{6D35E681-7EFD-4A60-B47D-B9EF6A06C595}"/>
          </ac:spMkLst>
        </pc:spChg>
        <pc:spChg chg="mod">
          <ac:chgData name="Thao Hoang" userId="0e23db62feec2a5d" providerId="LiveId" clId="{3FBBEF04-9D5F-4ECB-BDEB-5AF90A52C1C7}" dt="2021-02-17T02:41:20.160" v="560" actId="12"/>
          <ac:spMkLst>
            <pc:docMk/>
            <pc:sldMk cId="191974374" sldId="291"/>
            <ac:spMk id="60" creationId="{2D9B4D18-330F-4456-BB9E-6BBDCC70529F}"/>
          </ac:spMkLst>
        </pc:spChg>
        <pc:spChg chg="mod">
          <ac:chgData name="Thao Hoang" userId="0e23db62feec2a5d" providerId="LiveId" clId="{3FBBEF04-9D5F-4ECB-BDEB-5AF90A52C1C7}" dt="2021-02-17T02:41:24.221" v="564" actId="20577"/>
          <ac:spMkLst>
            <pc:docMk/>
            <pc:sldMk cId="191974374" sldId="291"/>
            <ac:spMk id="62" creationId="{5E93BD6E-B8C5-45D2-90CD-FDF26AE1DB0A}"/>
          </ac:spMkLst>
        </pc:spChg>
        <pc:picChg chg="del mod">
          <ac:chgData name="Thao Hoang" userId="0e23db62feec2a5d" providerId="LiveId" clId="{3FBBEF04-9D5F-4ECB-BDEB-5AF90A52C1C7}" dt="2021-02-17T02:37:09.177" v="539" actId="478"/>
          <ac:picMkLst>
            <pc:docMk/>
            <pc:sldMk cId="191974374" sldId="291"/>
            <ac:picMk id="19" creationId="{73E410A0-CC61-49E3-AA97-AD57AC709428}"/>
          </ac:picMkLst>
        </pc:picChg>
        <pc:picChg chg="add del mod">
          <ac:chgData name="Thao Hoang" userId="0e23db62feec2a5d" providerId="LiveId" clId="{3FBBEF04-9D5F-4ECB-BDEB-5AF90A52C1C7}" dt="2021-02-17T02:39:12.847" v="550" actId="478"/>
          <ac:picMkLst>
            <pc:docMk/>
            <pc:sldMk cId="191974374" sldId="291"/>
            <ac:picMk id="1026" creationId="{F4E86D92-B2A5-4B14-854C-5570809746FD}"/>
          </ac:picMkLst>
        </pc:picChg>
        <pc:picChg chg="add mod">
          <ac:chgData name="Thao Hoang" userId="0e23db62feec2a5d" providerId="LiveId" clId="{3FBBEF04-9D5F-4ECB-BDEB-5AF90A52C1C7}" dt="2021-02-17T02:37:55.211" v="542" actId="1076"/>
          <ac:picMkLst>
            <pc:docMk/>
            <pc:sldMk cId="191974374" sldId="291"/>
            <ac:picMk id="2055" creationId="{6DEE929C-235C-4F8E-ABE7-3D17F27A3F59}"/>
          </ac:picMkLst>
        </pc:picChg>
        <pc:picChg chg="add del">
          <ac:chgData name="Thao Hoang" userId="0e23db62feec2a5d" providerId="LiveId" clId="{3FBBEF04-9D5F-4ECB-BDEB-5AF90A52C1C7}" dt="2021-02-17T02:38:47.133" v="547"/>
          <ac:picMkLst>
            <pc:docMk/>
            <pc:sldMk cId="191974374" sldId="291"/>
            <ac:picMk id="2057" creationId="{2365AB0A-D8AA-422D-8056-F2FA3E5217C6}"/>
          </ac:picMkLst>
        </pc:picChg>
        <pc:picChg chg="add del mod">
          <ac:chgData name="Thao Hoang" userId="0e23db62feec2a5d" providerId="LiveId" clId="{3FBBEF04-9D5F-4ECB-BDEB-5AF90A52C1C7}" dt="2021-02-17T02:39:16.928" v="553" actId="478"/>
          <ac:picMkLst>
            <pc:docMk/>
            <pc:sldMk cId="191974374" sldId="291"/>
            <ac:picMk id="2059" creationId="{9CDFF879-B6D0-4305-8CC6-33815800BD69}"/>
          </ac:picMkLst>
        </pc:picChg>
        <pc:picChg chg="add del mod">
          <ac:chgData name="Thao Hoang" userId="0e23db62feec2a5d" providerId="LiveId" clId="{3FBBEF04-9D5F-4ECB-BDEB-5AF90A52C1C7}" dt="2021-02-17T02:39:50.512" v="556" actId="478"/>
          <ac:picMkLst>
            <pc:docMk/>
            <pc:sldMk cId="191974374" sldId="291"/>
            <ac:picMk id="2061" creationId="{1529147E-9CCF-4AAE-B323-3778FE6754A2}"/>
          </ac:picMkLst>
        </pc:picChg>
        <pc:picChg chg="add mod">
          <ac:chgData name="Thao Hoang" userId="0e23db62feec2a5d" providerId="LiveId" clId="{3FBBEF04-9D5F-4ECB-BDEB-5AF90A52C1C7}" dt="2021-02-17T02:40:36.350" v="559" actId="1076"/>
          <ac:picMkLst>
            <pc:docMk/>
            <pc:sldMk cId="191974374" sldId="291"/>
            <ac:picMk id="2063" creationId="{54F45CCA-04FD-4D2C-BD6E-12E87F96B6D2}"/>
          </ac:picMkLst>
        </pc:picChg>
      </pc:sldChg>
      <pc:sldChg chg="add">
        <pc:chgData name="Thao Hoang" userId="0e23db62feec2a5d" providerId="LiveId" clId="{3FBBEF04-9D5F-4ECB-BDEB-5AF90A52C1C7}" dt="2021-02-17T03:33:59.102" v="2989"/>
        <pc:sldMkLst>
          <pc:docMk/>
          <pc:sldMk cId="195707369" sldId="292"/>
        </pc:sldMkLst>
      </pc:sldChg>
      <pc:sldChg chg="addSp delSp modSp add del mod">
        <pc:chgData name="Thao Hoang" userId="0e23db62feec2a5d" providerId="LiveId" clId="{3FBBEF04-9D5F-4ECB-BDEB-5AF90A52C1C7}" dt="2021-02-17T03:33:53.181" v="2988" actId="2696"/>
        <pc:sldMkLst>
          <pc:docMk/>
          <pc:sldMk cId="284597496" sldId="292"/>
        </pc:sldMkLst>
        <pc:spChg chg="mod">
          <ac:chgData name="Thao Hoang" userId="0e23db62feec2a5d" providerId="LiveId" clId="{3FBBEF04-9D5F-4ECB-BDEB-5AF90A52C1C7}" dt="2021-02-17T03:32:46.210" v="2987" actId="20577"/>
          <ac:spMkLst>
            <pc:docMk/>
            <pc:sldMk cId="284597496" sldId="292"/>
            <ac:spMk id="3" creationId="{5B4C4001-629E-4272-9992-28BCC66AA423}"/>
          </ac:spMkLst>
        </pc:spChg>
        <pc:spChg chg="add del mod">
          <ac:chgData name="Thao Hoang" userId="0e23db62feec2a5d" providerId="LiveId" clId="{3FBBEF04-9D5F-4ECB-BDEB-5AF90A52C1C7}" dt="2021-02-17T03:31:28.097" v="2855" actId="478"/>
          <ac:spMkLst>
            <pc:docMk/>
            <pc:sldMk cId="284597496" sldId="292"/>
            <ac:spMk id="4" creationId="{6F1F2154-97E2-4D15-BB49-C366B5E355A2}"/>
          </ac:spMkLst>
        </pc:spChg>
        <pc:spChg chg="del">
          <ac:chgData name="Thao Hoang" userId="0e23db62feec2a5d" providerId="LiveId" clId="{3FBBEF04-9D5F-4ECB-BDEB-5AF90A52C1C7}" dt="2021-02-17T03:14:19.858" v="1708" actId="478"/>
          <ac:spMkLst>
            <pc:docMk/>
            <pc:sldMk cId="284597496" sldId="292"/>
            <ac:spMk id="346" creationId="{00000000-0000-0000-0000-000000000000}"/>
          </ac:spMkLst>
        </pc:spChg>
      </pc:sldChg>
      <pc:sldChg chg="modSp del mod">
        <pc:chgData name="Thao Hoang" userId="0e23db62feec2a5d" providerId="LiveId" clId="{3FBBEF04-9D5F-4ECB-BDEB-5AF90A52C1C7}" dt="2021-02-17T02:07:18.218" v="15" actId="2696"/>
        <pc:sldMkLst>
          <pc:docMk/>
          <pc:sldMk cId="3601420927" sldId="292"/>
        </pc:sldMkLst>
        <pc:spChg chg="mod">
          <ac:chgData name="Thao Hoang" userId="0e23db62feec2a5d" providerId="LiveId" clId="{3FBBEF04-9D5F-4ECB-BDEB-5AF90A52C1C7}" dt="2021-02-17T02:06:23.618" v="14" actId="14100"/>
          <ac:spMkLst>
            <pc:docMk/>
            <pc:sldMk cId="3601420927" sldId="292"/>
            <ac:spMk id="3" creationId="{5B4C4001-629E-4272-9992-28BCC66AA423}"/>
          </ac:spMkLst>
        </pc:spChg>
        <pc:grpChg chg="mod">
          <ac:chgData name="Thao Hoang" userId="0e23db62feec2a5d" providerId="LiveId" clId="{3FBBEF04-9D5F-4ECB-BDEB-5AF90A52C1C7}" dt="2021-02-17T02:06:20.542" v="13" actId="14100"/>
          <ac:grpSpMkLst>
            <pc:docMk/>
            <pc:sldMk cId="3601420927" sldId="292"/>
            <ac:grpSpMk id="348" creationId="{00000000-0000-0000-0000-000000000000}"/>
          </ac:grpSpMkLst>
        </pc:grpChg>
      </pc:sldChg>
      <pc:sldChg chg="addSp delSp modSp mod modNotesTx">
        <pc:chgData name="Thao Hoang" userId="0e23db62feec2a5d" providerId="LiveId" clId="{3FBBEF04-9D5F-4ECB-BDEB-5AF90A52C1C7}" dt="2021-02-17T03:40:22.981" v="3042" actId="20577"/>
        <pc:sldMkLst>
          <pc:docMk/>
          <pc:sldMk cId="3553263963" sldId="294"/>
        </pc:sldMkLst>
        <pc:spChg chg="del">
          <ac:chgData name="Thao Hoang" userId="0e23db62feec2a5d" providerId="LiveId" clId="{3FBBEF04-9D5F-4ECB-BDEB-5AF90A52C1C7}" dt="2021-02-17T02:44:53.279" v="599" actId="21"/>
          <ac:spMkLst>
            <pc:docMk/>
            <pc:sldMk cId="3553263963" sldId="294"/>
            <ac:spMk id="3" creationId="{2D80515D-7011-4BF7-94DF-500F56A21804}"/>
          </ac:spMkLst>
        </pc:spChg>
        <pc:spChg chg="add del mod">
          <ac:chgData name="Thao Hoang" userId="0e23db62feec2a5d" providerId="LiveId" clId="{3FBBEF04-9D5F-4ECB-BDEB-5AF90A52C1C7}" dt="2021-02-17T02:45:05.826" v="603" actId="478"/>
          <ac:spMkLst>
            <pc:docMk/>
            <pc:sldMk cId="3553263963" sldId="294"/>
            <ac:spMk id="4" creationId="{4E3E9D1A-E255-4B5A-937D-1F1CB1575190}"/>
          </ac:spMkLst>
        </pc:spChg>
      </pc:sldChg>
      <pc:sldChg chg="modSp add mod modNotesTx">
        <pc:chgData name="Thao Hoang" userId="0e23db62feec2a5d" providerId="LiveId" clId="{3FBBEF04-9D5F-4ECB-BDEB-5AF90A52C1C7}" dt="2021-02-17T03:38:31.672" v="3026" actId="20577"/>
        <pc:sldMkLst>
          <pc:docMk/>
          <pc:sldMk cId="788177721" sldId="295"/>
        </pc:sldMkLst>
        <pc:spChg chg="mod">
          <ac:chgData name="Thao Hoang" userId="0e23db62feec2a5d" providerId="LiveId" clId="{3FBBEF04-9D5F-4ECB-BDEB-5AF90A52C1C7}" dt="2021-02-17T02:08:29.336" v="41" actId="20577"/>
          <ac:spMkLst>
            <pc:docMk/>
            <pc:sldMk cId="788177721" sldId="295"/>
            <ac:spMk id="405" creationId="{00000000-0000-0000-0000-000000000000}"/>
          </ac:spMkLst>
        </pc:spChg>
        <pc:spChg chg="mod">
          <ac:chgData name="Thao Hoang" userId="0e23db62feec2a5d" providerId="LiveId" clId="{3FBBEF04-9D5F-4ECB-BDEB-5AF90A52C1C7}" dt="2021-02-17T02:45:15.374" v="604" actId="20577"/>
          <ac:spMkLst>
            <pc:docMk/>
            <pc:sldMk cId="788177721" sldId="295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21.039" v="20" actId="20577"/>
          <ac:spMkLst>
            <pc:docMk/>
            <pc:sldMk cId="788177721" sldId="295"/>
            <ac:spMk id="407" creationId="{00000000-0000-0000-0000-000000000000}"/>
          </ac:spMkLst>
        </pc:spChg>
      </pc:sldChg>
      <pc:sldChg chg="delSp modSp add mod modNotesTx">
        <pc:chgData name="Thao Hoang" userId="0e23db62feec2a5d" providerId="LiveId" clId="{3FBBEF04-9D5F-4ECB-BDEB-5AF90A52C1C7}" dt="2021-02-17T03:40:59.140" v="3044" actId="20577"/>
        <pc:sldMkLst>
          <pc:docMk/>
          <pc:sldMk cId="576451462" sldId="296"/>
        </pc:sldMkLst>
        <pc:spChg chg="mod">
          <ac:chgData name="Thao Hoang" userId="0e23db62feec2a5d" providerId="LiveId" clId="{3FBBEF04-9D5F-4ECB-BDEB-5AF90A52C1C7}" dt="2021-02-17T02:08:59.215" v="95" actId="6549"/>
          <ac:spMkLst>
            <pc:docMk/>
            <pc:sldMk cId="576451462" sldId="296"/>
            <ac:spMk id="405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09:03.649" v="96" actId="478"/>
          <ac:spMkLst>
            <pc:docMk/>
            <pc:sldMk cId="576451462" sldId="296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47.634" v="81" actId="20577"/>
          <ac:spMkLst>
            <pc:docMk/>
            <pc:sldMk cId="576451462" sldId="296"/>
            <ac:spMk id="407" creationId="{00000000-0000-0000-0000-000000000000}"/>
          </ac:spMkLst>
        </pc:spChg>
      </pc:sldChg>
      <pc:sldChg chg="addSp delSp modSp add mod">
        <pc:chgData name="Thao Hoang" userId="0e23db62feec2a5d" providerId="LiveId" clId="{3FBBEF04-9D5F-4ECB-BDEB-5AF90A52C1C7}" dt="2021-02-17T02:45:02.010" v="602" actId="1076"/>
        <pc:sldMkLst>
          <pc:docMk/>
          <pc:sldMk cId="847312865" sldId="297"/>
        </pc:sldMkLst>
        <pc:spChg chg="add mod">
          <ac:chgData name="Thao Hoang" userId="0e23db62feec2a5d" providerId="LiveId" clId="{3FBBEF04-9D5F-4ECB-BDEB-5AF90A52C1C7}" dt="2021-02-17T02:45:02.010" v="602" actId="1076"/>
          <ac:spMkLst>
            <pc:docMk/>
            <pc:sldMk cId="847312865" sldId="297"/>
            <ac:spMk id="114" creationId="{3936837B-25F6-4EC5-A396-340ACF791FCD}"/>
          </ac:spMkLst>
        </pc:spChg>
        <pc:spChg chg="mod">
          <ac:chgData name="Thao Hoang" userId="0e23db62feec2a5d" providerId="LiveId" clId="{3FBBEF04-9D5F-4ECB-BDEB-5AF90A52C1C7}" dt="2021-02-17T02:44:43.185" v="598" actId="14100"/>
          <ac:spMkLst>
            <pc:docMk/>
            <pc:sldMk cId="847312865" sldId="297"/>
            <ac:spMk id="741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4:32.460" v="596" actId="478"/>
          <ac:spMkLst>
            <pc:docMk/>
            <pc:sldMk cId="847312865" sldId="297"/>
            <ac:spMk id="742" creationId="{00000000-0000-0000-0000-000000000000}"/>
          </ac:spMkLst>
        </pc:spChg>
        <pc:grpChg chg="del">
          <ac:chgData name="Thao Hoang" userId="0e23db62feec2a5d" providerId="LiveId" clId="{3FBBEF04-9D5F-4ECB-BDEB-5AF90A52C1C7}" dt="2021-02-17T02:44:34.988" v="597" actId="478"/>
          <ac:grpSpMkLst>
            <pc:docMk/>
            <pc:sldMk cId="847312865" sldId="297"/>
            <ac:grpSpMk id="744" creationId="{00000000-0000-0000-0000-000000000000}"/>
          </ac:grpSpMkLst>
        </pc:grpChg>
      </pc:sldChg>
      <pc:sldChg chg="addSp delSp modSp add mod ord modNotesTx">
        <pc:chgData name="Thao Hoang" userId="0e23db62feec2a5d" providerId="LiveId" clId="{3FBBEF04-9D5F-4ECB-BDEB-5AF90A52C1C7}" dt="2021-02-17T22:57:47.529" v="5766" actId="14100"/>
        <pc:sldMkLst>
          <pc:docMk/>
          <pc:sldMk cId="540307469" sldId="298"/>
        </pc:sldMkLst>
        <pc:spChg chg="add del mod">
          <ac:chgData name="Thao Hoang" userId="0e23db62feec2a5d" providerId="LiveId" clId="{3FBBEF04-9D5F-4ECB-BDEB-5AF90A52C1C7}" dt="2021-02-17T02:46:05.997" v="627" actId="478"/>
          <ac:spMkLst>
            <pc:docMk/>
            <pc:sldMk cId="540307469" sldId="298"/>
            <ac:spMk id="3" creationId="{106020EE-07C4-4835-A020-F32190B27BBF}"/>
          </ac:spMkLst>
        </pc:spChg>
        <pc:spChg chg="add del mod">
          <ac:chgData name="Thao Hoang" userId="0e23db62feec2a5d" providerId="LiveId" clId="{3FBBEF04-9D5F-4ECB-BDEB-5AF90A52C1C7}" dt="2021-02-17T02:46:04.787" v="626" actId="478"/>
          <ac:spMkLst>
            <pc:docMk/>
            <pc:sldMk cId="540307469" sldId="298"/>
            <ac:spMk id="5" creationId="{0F4F49C6-7640-42FC-BBFE-40E3E5EACF62}"/>
          </ac:spMkLst>
        </pc:spChg>
        <pc:spChg chg="add del mod">
          <ac:chgData name="Thao Hoang" userId="0e23db62feec2a5d" providerId="LiveId" clId="{3FBBEF04-9D5F-4ECB-BDEB-5AF90A52C1C7}" dt="2021-02-17T02:47:55.126" v="682" actId="478"/>
          <ac:spMkLst>
            <pc:docMk/>
            <pc:sldMk cId="540307469" sldId="298"/>
            <ac:spMk id="11" creationId="{24FCD61E-AF4E-4C81-82A5-0B878C1D144E}"/>
          </ac:spMkLst>
        </pc:spChg>
        <pc:spChg chg="add del mod">
          <ac:chgData name="Thao Hoang" userId="0e23db62feec2a5d" providerId="LiveId" clId="{3FBBEF04-9D5F-4ECB-BDEB-5AF90A52C1C7}" dt="2021-02-17T02:47:57.027" v="683" actId="478"/>
          <ac:spMkLst>
            <pc:docMk/>
            <pc:sldMk cId="540307469" sldId="298"/>
            <ac:spMk id="12" creationId="{2B46A883-743B-4875-A170-5E09314AE869}"/>
          </ac:spMkLst>
        </pc:spChg>
        <pc:spChg chg="add del mod">
          <ac:chgData name="Thao Hoang" userId="0e23db62feec2a5d" providerId="LiveId" clId="{3FBBEF04-9D5F-4ECB-BDEB-5AF90A52C1C7}" dt="2021-02-17T02:47:58.386" v="684" actId="478"/>
          <ac:spMkLst>
            <pc:docMk/>
            <pc:sldMk cId="540307469" sldId="298"/>
            <ac:spMk id="13" creationId="{C53324F8-2F60-40D7-990F-BCAD17FB7F51}"/>
          </ac:spMkLst>
        </pc:spChg>
        <pc:spChg chg="mod">
          <ac:chgData name="Thao Hoang" userId="0e23db62feec2a5d" providerId="LiveId" clId="{3FBBEF04-9D5F-4ECB-BDEB-5AF90A52C1C7}" dt="2021-02-17T02:45:39.638" v="614" actId="20577"/>
          <ac:spMkLst>
            <pc:docMk/>
            <pc:sldMk cId="540307469" sldId="298"/>
            <ac:spMk id="997" creationId="{00000000-0000-0000-0000-000000000000}"/>
          </ac:spMkLst>
        </pc:spChg>
        <pc:spChg chg="mod">
          <ac:chgData name="Thao Hoang" userId="0e23db62feec2a5d" providerId="LiveId" clId="{3FBBEF04-9D5F-4ECB-BDEB-5AF90A52C1C7}" dt="2021-02-17T22:56:02.651" v="5621" actId="20577"/>
          <ac:spMkLst>
            <pc:docMk/>
            <pc:sldMk cId="540307469" sldId="298"/>
            <ac:spMk id="998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1.535" v="624" actId="478"/>
          <ac:spMkLst>
            <pc:docMk/>
            <pc:sldMk cId="540307469" sldId="298"/>
            <ac:spMk id="999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3.967" v="625" actId="478"/>
          <ac:spMkLst>
            <pc:docMk/>
            <pc:sldMk cId="540307469" sldId="298"/>
            <ac:spMk id="1000" creationId="{00000000-0000-0000-0000-000000000000}"/>
          </ac:spMkLst>
        </pc:spChg>
        <pc:picChg chg="add mod">
          <ac:chgData name="Thao Hoang" userId="0e23db62feec2a5d" providerId="LiveId" clId="{3FBBEF04-9D5F-4ECB-BDEB-5AF90A52C1C7}" dt="2021-02-17T22:55:48.926" v="5599" actId="1076"/>
          <ac:picMkLst>
            <pc:docMk/>
            <pc:sldMk cId="540307469" sldId="298"/>
            <ac:picMk id="3" creationId="{A58C8A79-1ABF-48D1-B433-C45EB7DAE116}"/>
          </ac:picMkLst>
        </pc:picChg>
        <pc:picChg chg="add mod">
          <ac:chgData name="Thao Hoang" userId="0e23db62feec2a5d" providerId="LiveId" clId="{3FBBEF04-9D5F-4ECB-BDEB-5AF90A52C1C7}" dt="2021-02-17T22:57:26.027" v="5762" actId="1076"/>
          <ac:picMkLst>
            <pc:docMk/>
            <pc:sldMk cId="540307469" sldId="298"/>
            <ac:picMk id="5" creationId="{0520273D-9E4E-4F1C-A654-CDB3D7461F88}"/>
          </ac:picMkLst>
        </pc:picChg>
        <pc:picChg chg="add mod">
          <ac:chgData name="Thao Hoang" userId="0e23db62feec2a5d" providerId="LiveId" clId="{3FBBEF04-9D5F-4ECB-BDEB-5AF90A52C1C7}" dt="2021-02-17T22:57:47.529" v="5766" actId="14100"/>
          <ac:picMkLst>
            <pc:docMk/>
            <pc:sldMk cId="540307469" sldId="298"/>
            <ac:picMk id="7" creationId="{A4641AC0-873E-4784-A899-D6738A5C9402}"/>
          </ac:picMkLst>
        </pc:picChg>
        <pc:picChg chg="add del mod">
          <ac:chgData name="Thao Hoang" userId="0e23db62feec2a5d" providerId="LiveId" clId="{3FBBEF04-9D5F-4ECB-BDEB-5AF90A52C1C7}" dt="2021-02-17T03:02:06.067" v="1365" actId="478"/>
          <ac:picMkLst>
            <pc:docMk/>
            <pc:sldMk cId="540307469" sldId="298"/>
            <ac:picMk id="14" creationId="{B062E02F-76F9-45A4-AA10-DFEEFB8C7314}"/>
          </ac:picMkLst>
        </pc:picChg>
      </pc:sldChg>
      <pc:sldChg chg="addSp delSp modSp add mod modNotesTx">
        <pc:chgData name="Thao Hoang" userId="0e23db62feec2a5d" providerId="LiveId" clId="{3FBBEF04-9D5F-4ECB-BDEB-5AF90A52C1C7}" dt="2021-02-17T22:36:43.885" v="4811" actId="20577"/>
        <pc:sldMkLst>
          <pc:docMk/>
          <pc:sldMk cId="691394434" sldId="299"/>
        </pc:sldMkLst>
        <pc:spChg chg="add del mod">
          <ac:chgData name="Thao Hoang" userId="0e23db62feec2a5d" providerId="LiveId" clId="{3FBBEF04-9D5F-4ECB-BDEB-5AF90A52C1C7}" dt="2021-02-17T03:01:07.727" v="1340" actId="478"/>
          <ac:spMkLst>
            <pc:docMk/>
            <pc:sldMk cId="691394434" sldId="299"/>
            <ac:spMk id="7" creationId="{780DC6EF-04A6-4CC5-B25B-246F4596E044}"/>
          </ac:spMkLst>
        </pc:spChg>
        <pc:spChg chg="add del mod">
          <ac:chgData name="Thao Hoang" userId="0e23db62feec2a5d" providerId="LiveId" clId="{3FBBEF04-9D5F-4ECB-BDEB-5AF90A52C1C7}" dt="2021-02-17T03:10:16.823" v="1581" actId="478"/>
          <ac:spMkLst>
            <pc:docMk/>
            <pc:sldMk cId="691394434" sldId="299"/>
            <ac:spMk id="9" creationId="{FFEB67D9-E3A2-43EC-9EF3-BE4E905C8C31}"/>
          </ac:spMkLst>
        </pc:spChg>
        <pc:spChg chg="del mod">
          <ac:chgData name="Thao Hoang" userId="0e23db62feec2a5d" providerId="LiveId" clId="{3FBBEF04-9D5F-4ECB-BDEB-5AF90A52C1C7}" dt="2021-02-17T03:10:15.503" v="1580" actId="478"/>
          <ac:spMkLst>
            <pc:docMk/>
            <pc:sldMk cId="691394434" sldId="299"/>
            <ac:spMk id="997" creationId="{00000000-0000-0000-0000-000000000000}"/>
          </ac:spMkLst>
        </pc:spChg>
        <pc:spChg chg="del">
          <ac:chgData name="Thao Hoang" userId="0e23db62feec2a5d" providerId="LiveId" clId="{3FBBEF04-9D5F-4ECB-BDEB-5AF90A52C1C7}" dt="2021-02-17T03:01:05.578" v="1339" actId="478"/>
          <ac:spMkLst>
            <pc:docMk/>
            <pc:sldMk cId="691394434" sldId="299"/>
            <ac:spMk id="998" creationId="{00000000-0000-0000-0000-000000000000}"/>
          </ac:spMkLst>
        </pc:spChg>
        <pc:picChg chg="add del mod">
          <ac:chgData name="Thao Hoang" userId="0e23db62feec2a5d" providerId="LiveId" clId="{3FBBEF04-9D5F-4ECB-BDEB-5AF90A52C1C7}" dt="2021-02-17T03:01:50.788" v="1361" actId="21"/>
          <ac:picMkLst>
            <pc:docMk/>
            <pc:sldMk cId="691394434" sldId="299"/>
            <ac:picMk id="3" creationId="{E2BBF3B0-FF68-461F-AD98-F29E71EF35BA}"/>
          </ac:picMkLst>
        </pc:picChg>
        <pc:picChg chg="add mod">
          <ac:chgData name="Thao Hoang" userId="0e23db62feec2a5d" providerId="LiveId" clId="{3FBBEF04-9D5F-4ECB-BDEB-5AF90A52C1C7}" dt="2021-02-17T03:11:02.856" v="1591" actId="14100"/>
          <ac:picMkLst>
            <pc:docMk/>
            <pc:sldMk cId="691394434" sldId="299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7T23:07:57.859" v="6158" actId="20577"/>
        <pc:sldMkLst>
          <pc:docMk/>
          <pc:sldMk cId="947203652" sldId="300"/>
        </pc:sldMkLst>
        <pc:spChg chg="add mod">
          <ac:chgData name="Thao Hoang" userId="0e23db62feec2a5d" providerId="LiveId" clId="{3FBBEF04-9D5F-4ECB-BDEB-5AF90A52C1C7}" dt="2021-02-17T22:43:01.542" v="5099" actId="20577"/>
          <ac:spMkLst>
            <pc:docMk/>
            <pc:sldMk cId="947203652" sldId="300"/>
            <ac:spMk id="2" creationId="{741B36DA-5D42-475F-9E23-488BC36ECBA9}"/>
          </ac:spMkLst>
        </pc:spChg>
        <pc:spChg chg="add del">
          <ac:chgData name="Thao Hoang" userId="0e23db62feec2a5d" providerId="LiveId" clId="{3FBBEF04-9D5F-4ECB-BDEB-5AF90A52C1C7}" dt="2021-02-17T22:42:08.018" v="5007"/>
          <ac:spMkLst>
            <pc:docMk/>
            <pc:sldMk cId="947203652" sldId="300"/>
            <ac:spMk id="3" creationId="{789B8CB5-25F1-4D2F-A25B-99DD7AF684A1}"/>
          </ac:spMkLst>
        </pc:spChg>
        <pc:spChg chg="add mod">
          <ac:chgData name="Thao Hoang" userId="0e23db62feec2a5d" providerId="LiveId" clId="{3FBBEF04-9D5F-4ECB-BDEB-5AF90A52C1C7}" dt="2021-02-17T22:50:59.080" v="5577" actId="20577"/>
          <ac:spMkLst>
            <pc:docMk/>
            <pc:sldMk cId="947203652" sldId="300"/>
            <ac:spMk id="4" creationId="{9537626E-26FA-4C27-97A0-B0735C4B5F45}"/>
          </ac:spMkLst>
        </pc:spChg>
        <pc:spChg chg="add del mod">
          <ac:chgData name="Thao Hoang" userId="0e23db62feec2a5d" providerId="LiveId" clId="{3FBBEF04-9D5F-4ECB-BDEB-5AF90A52C1C7}" dt="2021-02-17T22:46:49.790" v="5351" actId="478"/>
          <ac:spMkLst>
            <pc:docMk/>
            <pc:sldMk cId="947203652" sldId="300"/>
            <ac:spMk id="6" creationId="{FB148A84-3213-421C-9997-6AC616A92FF2}"/>
          </ac:spMkLst>
        </pc:spChg>
        <pc:spChg chg="add del mod">
          <ac:chgData name="Thao Hoang" userId="0e23db62feec2a5d" providerId="LiveId" clId="{3FBBEF04-9D5F-4ECB-BDEB-5AF90A52C1C7}" dt="2021-02-17T22:42:24.106" v="5021" actId="478"/>
          <ac:spMkLst>
            <pc:docMk/>
            <pc:sldMk cId="947203652" sldId="300"/>
            <ac:spMk id="7" creationId="{D2EEF117-D3F9-4209-94E9-C975EF9F2C86}"/>
          </ac:spMkLst>
        </pc:spChg>
        <pc:spChg chg="add mod">
          <ac:chgData name="Thao Hoang" userId="0e23db62feec2a5d" providerId="LiveId" clId="{3FBBEF04-9D5F-4ECB-BDEB-5AF90A52C1C7}" dt="2021-02-17T22:43:40.388" v="5126" actId="1076"/>
          <ac:spMkLst>
            <pc:docMk/>
            <pc:sldMk cId="947203652" sldId="300"/>
            <ac:spMk id="8" creationId="{A4975890-35E4-444C-82C4-ECD96E14397C}"/>
          </ac:spMkLst>
        </pc:spChg>
        <pc:spChg chg="add mod">
          <ac:chgData name="Thao Hoang" userId="0e23db62feec2a5d" providerId="LiveId" clId="{3FBBEF04-9D5F-4ECB-BDEB-5AF90A52C1C7}" dt="2021-02-17T22:46:16.301" v="5323" actId="14100"/>
          <ac:spMkLst>
            <pc:docMk/>
            <pc:sldMk cId="947203652" sldId="300"/>
            <ac:spMk id="10" creationId="{76D9B805-56F9-46D3-B6F8-E8842D608FC7}"/>
          </ac:spMkLst>
        </pc:spChg>
        <pc:spChg chg="add del mod">
          <ac:chgData name="Thao Hoang" userId="0e23db62feec2a5d" providerId="LiveId" clId="{3FBBEF04-9D5F-4ECB-BDEB-5AF90A52C1C7}" dt="2021-02-17T22:46:25.128" v="5326" actId="478"/>
          <ac:spMkLst>
            <pc:docMk/>
            <pc:sldMk cId="947203652" sldId="300"/>
            <ac:spMk id="11" creationId="{6C049B8C-5C3F-4CF8-B828-866B7B3EACDD}"/>
          </ac:spMkLst>
        </pc:spChg>
        <pc:spChg chg="add mod">
          <ac:chgData name="Thao Hoang" userId="0e23db62feec2a5d" providerId="LiveId" clId="{3FBBEF04-9D5F-4ECB-BDEB-5AF90A52C1C7}" dt="2021-02-17T22:48:27.309" v="5358" actId="20577"/>
          <ac:spMkLst>
            <pc:docMk/>
            <pc:sldMk cId="947203652" sldId="300"/>
            <ac:spMk id="12" creationId="{4A675AE7-223D-4AE5-AFD8-EE8689B2E3F0}"/>
          </ac:spMkLst>
        </pc:spChg>
        <pc:spChg chg="add mod">
          <ac:chgData name="Thao Hoang" userId="0e23db62feec2a5d" providerId="LiveId" clId="{3FBBEF04-9D5F-4ECB-BDEB-5AF90A52C1C7}" dt="2021-02-17T22:49:50.900" v="5472" actId="20577"/>
          <ac:spMkLst>
            <pc:docMk/>
            <pc:sldMk cId="947203652" sldId="300"/>
            <ac:spMk id="13" creationId="{8483E668-FEAE-4C59-9B67-D7450C632178}"/>
          </ac:spMkLst>
        </pc:spChg>
        <pc:spChg chg="add mod">
          <ac:chgData name="Thao Hoang" userId="0e23db62feec2a5d" providerId="LiveId" clId="{3FBBEF04-9D5F-4ECB-BDEB-5AF90A52C1C7}" dt="2021-02-17T22:50:41.372" v="5576" actId="20577"/>
          <ac:spMkLst>
            <pc:docMk/>
            <pc:sldMk cId="947203652" sldId="300"/>
            <ac:spMk id="14" creationId="{A5207FDD-DCF1-4820-9E90-C327CD957920}"/>
          </ac:spMkLst>
        </pc:spChg>
        <pc:picChg chg="del">
          <ac:chgData name="Thao Hoang" userId="0e23db62feec2a5d" providerId="LiveId" clId="{3FBBEF04-9D5F-4ECB-BDEB-5AF90A52C1C7}" dt="2021-02-17T22:36:58.064" v="4813" actId="478"/>
          <ac:picMkLst>
            <pc:docMk/>
            <pc:sldMk cId="947203652" sldId="300"/>
            <ac:picMk id="5" creationId="{6C2AEEB3-9148-4794-945C-8CB50C0FB14A}"/>
          </ac:picMkLst>
        </pc:picChg>
      </pc:sldChg>
      <pc:sldChg chg="addSp delSp modSp add del mod">
        <pc:chgData name="Thao Hoang" userId="0e23db62feec2a5d" providerId="LiveId" clId="{3FBBEF04-9D5F-4ECB-BDEB-5AF90A52C1C7}" dt="2021-02-17T03:02:19.697" v="1366" actId="47"/>
        <pc:sldMkLst>
          <pc:docMk/>
          <pc:sldMk cId="2924716912" sldId="300"/>
        </pc:sldMkLst>
        <pc:spChg chg="add del mod">
          <ac:chgData name="Thao Hoang" userId="0e23db62feec2a5d" providerId="LiveId" clId="{3FBBEF04-9D5F-4ECB-BDEB-5AF90A52C1C7}" dt="2021-02-17T03:00:58.072" v="1338" actId="478"/>
          <ac:spMkLst>
            <pc:docMk/>
            <pc:sldMk cId="2924716912" sldId="300"/>
            <ac:spMk id="4" creationId="{2C281601-5EF8-492C-A47D-CDF0EFB5ED68}"/>
          </ac:spMkLst>
        </pc:spChg>
        <pc:spChg chg="del">
          <ac:chgData name="Thao Hoang" userId="0e23db62feec2a5d" providerId="LiveId" clId="{3FBBEF04-9D5F-4ECB-BDEB-5AF90A52C1C7}" dt="2021-02-17T03:00:48.744" v="1336" actId="478"/>
          <ac:spMkLst>
            <pc:docMk/>
            <pc:sldMk cId="2924716912" sldId="300"/>
            <ac:spMk id="998" creationId="{00000000-0000-0000-0000-000000000000}"/>
          </ac:spMkLst>
        </pc:spChg>
        <pc:picChg chg="mod">
          <ac:chgData name="Thao Hoang" userId="0e23db62feec2a5d" providerId="LiveId" clId="{3FBBEF04-9D5F-4ECB-BDEB-5AF90A52C1C7}" dt="2021-02-17T03:00:51.065" v="1337" actId="1076"/>
          <ac:picMkLst>
            <pc:docMk/>
            <pc:sldMk cId="2924716912" sldId="300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7T23:01:30.987" v="6157" actId="20577"/>
        <pc:sldMkLst>
          <pc:docMk/>
          <pc:sldMk cId="270865405" sldId="301"/>
        </pc:sldMkLst>
        <pc:picChg chg="add mod">
          <ac:chgData name="Thao Hoang" userId="0e23db62feec2a5d" providerId="LiveId" clId="{3FBBEF04-9D5F-4ECB-BDEB-5AF90A52C1C7}" dt="2021-02-17T22:59:54.898" v="5781" actId="14100"/>
          <ac:picMkLst>
            <pc:docMk/>
            <pc:sldMk cId="270865405" sldId="301"/>
            <ac:picMk id="3" creationId="{AC8CBD08-C1F2-483F-B056-122E74ED401B}"/>
          </ac:picMkLst>
        </pc:picChg>
        <pc:picChg chg="del">
          <ac:chgData name="Thao Hoang" userId="0e23db62feec2a5d" providerId="LiveId" clId="{3FBBEF04-9D5F-4ECB-BDEB-5AF90A52C1C7}" dt="2021-02-17T22:58:35.320" v="5768" actId="478"/>
          <ac:picMkLst>
            <pc:docMk/>
            <pc:sldMk cId="270865405" sldId="301"/>
            <ac:picMk id="5" creationId="{6C2AEEB3-9148-4794-945C-8CB50C0FB14A}"/>
          </ac:picMkLst>
        </pc:picChg>
      </pc:sldChg>
      <pc:sldChg chg="delSp add del mod">
        <pc:chgData name="Thao Hoang" userId="0e23db62feec2a5d" providerId="LiveId" clId="{3FBBEF04-9D5F-4ECB-BDEB-5AF90A52C1C7}" dt="2021-02-17T22:58:40.642" v="5773" actId="47"/>
        <pc:sldMkLst>
          <pc:docMk/>
          <pc:sldMk cId="1430458174" sldId="302"/>
        </pc:sldMkLst>
        <pc:picChg chg="del">
          <ac:chgData name="Thao Hoang" userId="0e23db62feec2a5d" providerId="LiveId" clId="{3FBBEF04-9D5F-4ECB-BDEB-5AF90A52C1C7}" dt="2021-02-17T22:58:37.495" v="5770" actId="478"/>
          <ac:picMkLst>
            <pc:docMk/>
            <pc:sldMk cId="1430458174" sldId="302"/>
            <ac:picMk id="5" creationId="{6C2AEEB3-9148-4794-945C-8CB50C0FB14A}"/>
          </ac:picMkLst>
        </pc:picChg>
      </pc:sldChg>
      <pc:sldChg chg="add del">
        <pc:chgData name="Thao Hoang" userId="0e23db62feec2a5d" providerId="LiveId" clId="{3FBBEF04-9D5F-4ECB-BDEB-5AF90A52C1C7}" dt="2021-02-17T22:58:39.200" v="5772"/>
        <pc:sldMkLst>
          <pc:docMk/>
          <pc:sldMk cId="619810769" sldId="303"/>
        </pc:sldMkLst>
      </pc:sldChg>
      <pc:sldMasterChg chg="delSldLayout">
        <pc:chgData name="Thao Hoang" userId="0e23db62feec2a5d" providerId="LiveId" clId="{3FBBEF04-9D5F-4ECB-BDEB-5AF90A52C1C7}" dt="2021-02-17T03:12:26.148" v="1697" actId="47"/>
        <pc:sldMasterMkLst>
          <pc:docMk/>
          <pc:sldMasterMk cId="0" sldId="2147483658"/>
        </pc:sldMasterMkLst>
        <pc:sldLayoutChg chg="del">
          <pc:chgData name="Thao Hoang" userId="0e23db62feec2a5d" providerId="LiveId" clId="{3FBBEF04-9D5F-4ECB-BDEB-5AF90A52C1C7}" dt="2021-02-17T03:11:40.446" v="1612" actId="47"/>
          <pc:sldLayoutMkLst>
            <pc:docMk/>
            <pc:sldMasterMk cId="0" sldId="2147483658"/>
            <pc:sldLayoutMk cId="0" sldId="2147483655"/>
          </pc:sldLayoutMkLst>
        </pc:sldLayoutChg>
        <pc:sldLayoutChg chg="del">
          <pc:chgData name="Thao Hoang" userId="0e23db62feec2a5d" providerId="LiveId" clId="{3FBBEF04-9D5F-4ECB-BDEB-5AF90A52C1C7}" dt="2021-02-17T03:12:26.148" v="1697" actId="47"/>
          <pc:sldLayoutMkLst>
            <pc:docMk/>
            <pc:sldMasterMk cId="0" sldId="2147483658"/>
            <pc:sldLayoutMk cId="0" sldId="214748365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" name="Google Shape;1003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4" name="Google Shape;1004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629650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technology'&gt;Technology photo created by </a:t>
            </a:r>
            <a:r>
              <a:rPr lang="en-US" dirty="0" err="1"/>
              <a:t>kjpargeter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02AECF-5C0A-4F8B-AAFD-FF56EB65FD5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160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7" name="Google Shape;1697;g35ed75ccf_0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98" name="Google Shape;1698;g35ed75ccf_0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466846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75734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8" name="Google Shape;738;g35ed75ccf_0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39" name="Google Shape;739;g35ed75ccf_0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492604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Nav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924853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5" name="Google Shape;1165;g35ed75ccf_0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6" name="Google Shape;1166;g35ed75ccf_0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Kelvin had shown in the app, at the current state, user can toggle the drop down menu and see a comprehensive visualization dashboard for a particular country or all 4 countries in total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For example, if we left the selection to “All”, then some of the results can be observed as shown in this slide. </a:t>
            </a:r>
            <a:endParaRPr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slide summarizes some results observed from the dashboard focusing on Canada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we saw earlier,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(read the slide)  </a:t>
            </a:r>
            <a:r>
              <a:rPr lang="en-CA" dirty="0">
                <a:sym typeface="Wingdings" panose="05000000000000000000" pitchFamily="2" charset="2"/>
              </a:rPr>
              <a:t> this statistics provide users an insight of the demand of different data roles. So depending on their expertise, he or she can make </a:t>
            </a:r>
            <a:r>
              <a:rPr lang="en-CA" dirty="0" err="1">
                <a:sym typeface="Wingdings" panose="05000000000000000000" pitchFamily="2" charset="2"/>
              </a:rPr>
              <a:t>adata</a:t>
            </a:r>
            <a:r>
              <a:rPr lang="en-CA" dirty="0">
                <a:sym typeface="Wingdings" panose="05000000000000000000" pitchFamily="2" charset="2"/>
              </a:rPr>
              <a:t>-driven decision to either move to ON or BC as an example in this case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The dashboard also gives you an insight of how easy it is to take leaves or if </a:t>
            </a:r>
            <a:r>
              <a:rPr lang="en-CA" dirty="0" err="1">
                <a:sym typeface="Wingdings" panose="05000000000000000000" pitchFamily="2" charset="2"/>
              </a:rPr>
              <a:t>if</a:t>
            </a:r>
            <a:r>
              <a:rPr lang="en-CA" dirty="0">
                <a:sym typeface="Wingdings" panose="05000000000000000000" pitchFamily="2" charset="2"/>
              </a:rPr>
              <a:t> there are work benefits included in the particular country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CA" dirty="0">
              <a:sym typeface="Wingdings" panose="05000000000000000000" pitchFamily="2" charset="2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Similarly, a user can explore the job market demand for other 3 countries, in case he/she would like to work abroa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136014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nother useful information a user can get from this dashboard is to find the key words that are widely used in the industry or in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user can change the frequency to example 5, meaning the key word appears at least 5 times in all the Data Analyst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you can see, the bigger the word the more likely the user can find a relevant job if he/she uses it in job search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539707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heatmap provides a holistic view of the job postings, so the user can see which provinces have more postings than anothe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will gain help user to make information decision on where they want to move to for more job opportuniti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8129569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262415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8891281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1" name="Google Shape;1731;g35ed75ccf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32" name="Google Shape;1732;g35ed75ccf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6" name="Google Shape;2056;g35ed75ccf_0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7" name="Google Shape;2057;g35ed75ccf_0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9" name="Google Shape;2209;g35ed75ccf_0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10" name="Google Shape;2210;g35ed75ccf_0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290533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" name="Google Shape;515;g35f391192_0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6" name="Google Shape;516;g35f391192_0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Summarize the intro</a:t>
            </a:r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Ma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070729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238467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202666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5494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TITLE_1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085850" y="3287726"/>
            <a:ext cx="4676700" cy="383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_1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18;p4"/>
          <p:cNvSpPr/>
          <p:nvPr/>
        </p:nvSpPr>
        <p:spPr>
          <a:xfrm rot="5400000">
            <a:off x="-303375" y="9274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039050" y="1028325"/>
            <a:ext cx="4742700" cy="3579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3200">
                <a:solidFill>
                  <a:schemeClr val="lt1"/>
                </a:solidFill>
              </a:defRPr>
            </a:lvl1pPr>
            <a:lvl2pPr marL="914400" lvl="1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2pPr>
            <a:lvl3pPr marL="1371600" lvl="2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3pPr>
            <a:lvl4pPr marL="1828800" lvl="3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4pPr>
            <a:lvl5pPr marL="2286000" lvl="4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5pPr>
            <a:lvl6pPr marL="2743200" lvl="5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6pPr>
            <a:lvl7pPr marL="3200400" lvl="6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7pPr>
            <a:lvl8pPr marL="3657600" lvl="7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8pPr>
            <a:lvl9pPr marL="4114800" lvl="8" indent="-43180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/>
          <p:nvPr/>
        </p:nvSpPr>
        <p:spPr>
          <a:xfrm>
            <a:off x="19050" y="933775"/>
            <a:ext cx="5310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600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8600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_AND_BODY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24;p5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3pPr>
            <a:lvl4pPr marL="1828800" lvl="3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4pPr>
            <a:lvl5pPr marL="2286000" lvl="4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5pPr>
            <a:lvl6pPr marL="2743200" lvl="5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6pPr>
            <a:lvl7pPr marL="3200400" lvl="6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7pPr>
            <a:lvl8pPr marL="3657600" lvl="7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8pPr>
            <a:lvl9pPr marL="4114800" lvl="8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_AND_TWO_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" name="Google Shape;30;p6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3415578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_AND_TWO_COLUMNS_1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7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329025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61233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45;p8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5085E5-3B49-4DC6-A6A9-AD47CEE87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88008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5085E5-3B49-4DC6-A6A9-AD47CEE87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78F2DC-0703-47F2-9D0B-0971015D2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7F0E3C-330D-4D84-9310-7161F953A7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0513" y="1017640"/>
            <a:ext cx="8562975" cy="36150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58AF1B-9CDC-40BE-9A38-2428C7E189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63B13B-4FD4-4439-B284-D5FEDBBA4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EC018-797C-48C5-A3AF-DE3788B9D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862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7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6" r:id="rId8"/>
    <p:sldLayoutId id="2147483659" r:id="rId9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10" Type="http://schemas.openxmlformats.org/officeDocument/2006/relationships/image" Target="../media/image10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danidee10.github.io/2016/10/05/flask-by-example-5.html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jobapp.herokuapp.com/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ngmay/DataJobMarket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github.com/Navyhoang/Project2-DataJobs-App" TargetMode="Externa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12"/>
          <p:cNvGrpSpPr/>
          <p:nvPr/>
        </p:nvGrpSpPr>
        <p:grpSpPr>
          <a:xfrm>
            <a:off x="5122427" y="668001"/>
            <a:ext cx="3841143" cy="3893303"/>
            <a:chOff x="5122427" y="668001"/>
            <a:chExt cx="3841143" cy="3893303"/>
          </a:xfrm>
        </p:grpSpPr>
        <p:grpSp>
          <p:nvGrpSpPr>
            <p:cNvPr id="64" name="Google Shape;64;p12"/>
            <p:cNvGrpSpPr/>
            <p:nvPr/>
          </p:nvGrpSpPr>
          <p:grpSpPr>
            <a:xfrm>
              <a:off x="5144045" y="893590"/>
              <a:ext cx="2833667" cy="2964311"/>
              <a:chOff x="3860721" y="1330073"/>
              <a:chExt cx="3544299" cy="3707706"/>
            </a:xfrm>
          </p:grpSpPr>
          <p:sp>
            <p:nvSpPr>
              <p:cNvPr id="65" name="Google Shape;65;p12"/>
              <p:cNvSpPr/>
              <p:nvPr/>
            </p:nvSpPr>
            <p:spPr>
              <a:xfrm>
                <a:off x="5336000" y="1330073"/>
                <a:ext cx="2069020" cy="2805419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19" extrusionOk="0">
                    <a:moveTo>
                      <a:pt x="2019014" y="2799395"/>
                    </a:moveTo>
                    <a:lnTo>
                      <a:pt x="50006" y="1662586"/>
                    </a:lnTo>
                    <a:cubicBezTo>
                      <a:pt x="22384" y="1646680"/>
                      <a:pt x="0" y="1603912"/>
                      <a:pt x="0" y="1567336"/>
                    </a:cubicBezTo>
                    <a:lnTo>
                      <a:pt x="0" y="43908"/>
                    </a:lnTo>
                    <a:cubicBezTo>
                      <a:pt x="0" y="7141"/>
                      <a:pt x="22384" y="-9813"/>
                      <a:pt x="50006" y="5808"/>
                    </a:cubicBezTo>
                    <a:lnTo>
                      <a:pt x="2019014" y="1142998"/>
                    </a:lnTo>
                    <a:cubicBezTo>
                      <a:pt x="2046637" y="1158904"/>
                      <a:pt x="2069020" y="1201672"/>
                      <a:pt x="2069020" y="1238248"/>
                    </a:cubicBezTo>
                    <a:lnTo>
                      <a:pt x="2069020" y="2761295"/>
                    </a:lnTo>
                    <a:cubicBezTo>
                      <a:pt x="2069020" y="2798443"/>
                      <a:pt x="2046637" y="2815397"/>
                      <a:pt x="2019014" y="2799395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66;p12"/>
              <p:cNvSpPr/>
              <p:nvPr/>
            </p:nvSpPr>
            <p:spPr>
              <a:xfrm>
                <a:off x="7365110" y="4067936"/>
                <a:ext cx="21907" cy="77247"/>
              </a:xfrm>
              <a:custGeom>
                <a:avLst/>
                <a:gdLst/>
                <a:ahLst/>
                <a:cxnLst/>
                <a:rect l="l" t="t" r="r" b="b"/>
                <a:pathLst>
                  <a:path w="21907" h="77247" extrusionOk="0">
                    <a:moveTo>
                      <a:pt x="0" y="77248"/>
                    </a:moveTo>
                    <a:lnTo>
                      <a:pt x="21908" y="64675"/>
                    </a:lnTo>
                    <a:lnTo>
                      <a:pt x="12383" y="0"/>
                    </a:lnTo>
                    <a:lnTo>
                      <a:pt x="0" y="7724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67;p12"/>
              <p:cNvSpPr/>
              <p:nvPr/>
            </p:nvSpPr>
            <p:spPr>
              <a:xfrm>
                <a:off x="5332475" y="1333214"/>
                <a:ext cx="52292" cy="22389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22389" extrusionOk="0">
                    <a:moveTo>
                      <a:pt x="0" y="12383"/>
                    </a:moveTo>
                    <a:lnTo>
                      <a:pt x="21431" y="0"/>
                    </a:lnTo>
                    <a:lnTo>
                      <a:pt x="52292" y="17621"/>
                    </a:lnTo>
                    <a:cubicBezTo>
                      <a:pt x="52292" y="17621"/>
                      <a:pt x="19431" y="22574"/>
                      <a:pt x="18669" y="22384"/>
                    </a:cubicBezTo>
                    <a:cubicBezTo>
                      <a:pt x="17907" y="22193"/>
                      <a:pt x="0" y="12383"/>
                      <a:pt x="0" y="1238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68;p12"/>
              <p:cNvSpPr/>
              <p:nvPr/>
            </p:nvSpPr>
            <p:spPr>
              <a:xfrm>
                <a:off x="5317902" y="1340537"/>
                <a:ext cx="2069115" cy="2805383"/>
              </a:xfrm>
              <a:custGeom>
                <a:avLst/>
                <a:gdLst/>
                <a:ahLst/>
                <a:cxnLst/>
                <a:rect l="l" t="t" r="r" b="b"/>
                <a:pathLst>
                  <a:path w="2069115" h="2805383" extrusionOk="0">
                    <a:moveTo>
                      <a:pt x="2019110" y="2799409"/>
                    </a:moveTo>
                    <a:lnTo>
                      <a:pt x="50006" y="1662600"/>
                    </a:lnTo>
                    <a:cubicBezTo>
                      <a:pt x="22384" y="1646598"/>
                      <a:pt x="0" y="1603831"/>
                      <a:pt x="0" y="1567350"/>
                    </a:cubicBezTo>
                    <a:lnTo>
                      <a:pt x="0" y="43921"/>
                    </a:lnTo>
                    <a:cubicBezTo>
                      <a:pt x="0" y="7060"/>
                      <a:pt x="22384" y="-9800"/>
                      <a:pt x="50006" y="5821"/>
                    </a:cubicBezTo>
                    <a:lnTo>
                      <a:pt x="2019110" y="1142916"/>
                    </a:lnTo>
                    <a:cubicBezTo>
                      <a:pt x="2046732" y="1158823"/>
                      <a:pt x="2069116" y="1201685"/>
                      <a:pt x="2069116" y="1238166"/>
                    </a:cubicBezTo>
                    <a:lnTo>
                      <a:pt x="2069116" y="2761595"/>
                    </a:lnTo>
                    <a:cubicBezTo>
                      <a:pt x="2069116" y="2798361"/>
                      <a:pt x="2046732" y="2815315"/>
                      <a:pt x="2019110" y="279940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69;p12"/>
              <p:cNvSpPr/>
              <p:nvPr/>
            </p:nvSpPr>
            <p:spPr>
              <a:xfrm>
                <a:off x="5314473" y="1342497"/>
                <a:ext cx="2069020" cy="2805423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23" extrusionOk="0">
                    <a:moveTo>
                      <a:pt x="2019014" y="2799449"/>
                    </a:moveTo>
                    <a:lnTo>
                      <a:pt x="50006" y="1662545"/>
                    </a:lnTo>
                    <a:cubicBezTo>
                      <a:pt x="22384" y="1646638"/>
                      <a:pt x="0" y="1603871"/>
                      <a:pt x="0" y="1567295"/>
                    </a:cubicBezTo>
                    <a:lnTo>
                      <a:pt x="0" y="43962"/>
                    </a:lnTo>
                    <a:cubicBezTo>
                      <a:pt x="0" y="7100"/>
                      <a:pt x="22384" y="-9855"/>
                      <a:pt x="50006" y="5862"/>
                    </a:cubicBezTo>
                    <a:lnTo>
                      <a:pt x="2019014" y="1142956"/>
                    </a:lnTo>
                    <a:cubicBezTo>
                      <a:pt x="2046637" y="1158863"/>
                      <a:pt x="2069021" y="1201630"/>
                      <a:pt x="2069021" y="1238206"/>
                    </a:cubicBezTo>
                    <a:lnTo>
                      <a:pt x="2069021" y="2761635"/>
                    </a:lnTo>
                    <a:cubicBezTo>
                      <a:pt x="2069021" y="2798401"/>
                      <a:pt x="2046637" y="2815356"/>
                      <a:pt x="2019014" y="279944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12"/>
              <p:cNvSpPr/>
              <p:nvPr/>
            </p:nvSpPr>
            <p:spPr>
              <a:xfrm>
                <a:off x="5339429" y="1375389"/>
                <a:ext cx="2018061" cy="2673878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878" extrusionOk="0">
                    <a:moveTo>
                      <a:pt x="2017014" y="2673878"/>
                    </a:moveTo>
                    <a:lnTo>
                      <a:pt x="0" y="1509352"/>
                    </a:lnTo>
                    <a:lnTo>
                      <a:pt x="1048" y="17165"/>
                    </a:lnTo>
                    <a:cubicBezTo>
                      <a:pt x="1048" y="1830"/>
                      <a:pt x="11811" y="-4361"/>
                      <a:pt x="25051" y="3259"/>
                    </a:cubicBezTo>
                    <a:lnTo>
                      <a:pt x="1994059" y="1140163"/>
                    </a:lnTo>
                    <a:cubicBezTo>
                      <a:pt x="2008213" y="1149354"/>
                      <a:pt x="2017138" y="1164747"/>
                      <a:pt x="2018062" y="11815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" name="Google Shape;71;p12"/>
              <p:cNvSpPr/>
              <p:nvPr/>
            </p:nvSpPr>
            <p:spPr>
              <a:xfrm>
                <a:off x="5339238" y="1374339"/>
                <a:ext cx="2018061" cy="2673785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785" extrusionOk="0">
                    <a:moveTo>
                      <a:pt x="2017014" y="2673785"/>
                    </a:moveTo>
                    <a:lnTo>
                      <a:pt x="0" y="1509354"/>
                    </a:lnTo>
                    <a:lnTo>
                      <a:pt x="1048" y="17072"/>
                    </a:lnTo>
                    <a:cubicBezTo>
                      <a:pt x="1048" y="1832"/>
                      <a:pt x="11811" y="-4359"/>
                      <a:pt x="25051" y="3261"/>
                    </a:cubicBezTo>
                    <a:lnTo>
                      <a:pt x="1994059" y="1140260"/>
                    </a:lnTo>
                    <a:cubicBezTo>
                      <a:pt x="2008232" y="1149481"/>
                      <a:pt x="2017147" y="1164911"/>
                      <a:pt x="2018062" y="118178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" name="Google Shape;72;p12"/>
              <p:cNvSpPr/>
              <p:nvPr/>
            </p:nvSpPr>
            <p:spPr>
              <a:xfrm>
                <a:off x="3860721" y="3051171"/>
                <a:ext cx="3440851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51" h="1986608" extrusionOk="0">
                    <a:moveTo>
                      <a:pt x="1987629" y="1975838"/>
                    </a:moveTo>
                    <a:lnTo>
                      <a:pt x="18621" y="838934"/>
                    </a:lnTo>
                    <a:cubicBezTo>
                      <a:pt x="-9002" y="823027"/>
                      <a:pt x="-5477" y="795214"/>
                      <a:pt x="26432" y="776736"/>
                    </a:cubicBezTo>
                    <a:lnTo>
                      <a:pt x="1345454" y="15212"/>
                    </a:lnTo>
                    <a:cubicBezTo>
                      <a:pt x="1377362" y="-3172"/>
                      <a:pt x="1425559" y="-5172"/>
                      <a:pt x="1453181" y="10735"/>
                    </a:cubicBezTo>
                    <a:lnTo>
                      <a:pt x="3422189" y="1147544"/>
                    </a:lnTo>
                    <a:cubicBezTo>
                      <a:pt x="3449812" y="1163546"/>
                      <a:pt x="3446383" y="1191359"/>
                      <a:pt x="3414474" y="1209742"/>
                    </a:cubicBezTo>
                    <a:lnTo>
                      <a:pt x="2095452" y="1971742"/>
                    </a:lnTo>
                    <a:cubicBezTo>
                      <a:pt x="2063829" y="1989744"/>
                      <a:pt x="2015347" y="1991745"/>
                      <a:pt x="1987629" y="197583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" name="Google Shape;73;p12"/>
              <p:cNvSpPr/>
              <p:nvPr/>
            </p:nvSpPr>
            <p:spPr>
              <a:xfrm>
                <a:off x="3903733" y="3024882"/>
                <a:ext cx="3440892" cy="1987084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7084" extrusionOk="0">
                    <a:moveTo>
                      <a:pt x="1987670" y="1976314"/>
                    </a:moveTo>
                    <a:lnTo>
                      <a:pt x="18662" y="839410"/>
                    </a:lnTo>
                    <a:cubicBezTo>
                      <a:pt x="-8961" y="823503"/>
                      <a:pt x="-5532" y="795690"/>
                      <a:pt x="26377" y="777212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8020"/>
                    </a:lnTo>
                    <a:cubicBezTo>
                      <a:pt x="3449853" y="1164022"/>
                      <a:pt x="3446424" y="1191835"/>
                      <a:pt x="3414515" y="1210218"/>
                    </a:cubicBezTo>
                    <a:lnTo>
                      <a:pt x="2095493" y="1972218"/>
                    </a:lnTo>
                    <a:cubicBezTo>
                      <a:pt x="2063584" y="1990220"/>
                      <a:pt x="2015292" y="1992221"/>
                      <a:pt x="1987670" y="1976314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74;p12"/>
              <p:cNvSpPr/>
              <p:nvPr/>
            </p:nvSpPr>
            <p:spPr>
              <a:xfrm>
                <a:off x="3903726" y="3801522"/>
                <a:ext cx="41719" cy="37052"/>
              </a:xfrm>
              <a:custGeom>
                <a:avLst/>
                <a:gdLst/>
                <a:ahLst/>
                <a:cxnLst/>
                <a:rect l="l" t="t" r="r" b="b"/>
                <a:pathLst>
                  <a:path w="41719" h="37052" extrusionOk="0">
                    <a:moveTo>
                      <a:pt x="0" y="37052"/>
                    </a:moveTo>
                    <a:lnTo>
                      <a:pt x="0" y="0"/>
                    </a:lnTo>
                    <a:lnTo>
                      <a:pt x="41719" y="17431"/>
                    </a:lnTo>
                    <a:lnTo>
                      <a:pt x="0" y="37052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12"/>
              <p:cNvSpPr/>
              <p:nvPr/>
            </p:nvSpPr>
            <p:spPr>
              <a:xfrm>
                <a:off x="7313771" y="4164425"/>
                <a:ext cx="30860" cy="40671"/>
              </a:xfrm>
              <a:custGeom>
                <a:avLst/>
                <a:gdLst/>
                <a:ahLst/>
                <a:cxnLst/>
                <a:rect l="l" t="t" r="r" b="b"/>
                <a:pathLst>
                  <a:path w="30860" h="40671" extrusionOk="0">
                    <a:moveTo>
                      <a:pt x="30861" y="36290"/>
                    </a:moveTo>
                    <a:lnTo>
                      <a:pt x="30861" y="0"/>
                    </a:lnTo>
                    <a:lnTo>
                      <a:pt x="0" y="10573"/>
                    </a:lnTo>
                    <a:lnTo>
                      <a:pt x="20479" y="40672"/>
                    </a:lnTo>
                    <a:lnTo>
                      <a:pt x="30861" y="3629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76;p12"/>
              <p:cNvSpPr/>
              <p:nvPr/>
            </p:nvSpPr>
            <p:spPr>
              <a:xfrm>
                <a:off x="3903733" y="2994046"/>
                <a:ext cx="3440892" cy="198661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18" extrusionOk="0">
                    <a:moveTo>
                      <a:pt x="1987670" y="1975813"/>
                    </a:moveTo>
                    <a:lnTo>
                      <a:pt x="18662" y="839005"/>
                    </a:lnTo>
                    <a:cubicBezTo>
                      <a:pt x="-8961" y="823098"/>
                      <a:pt x="-5532" y="795190"/>
                      <a:pt x="26377" y="776806"/>
                    </a:cubicBezTo>
                    <a:lnTo>
                      <a:pt x="1345495" y="15283"/>
                    </a:lnTo>
                    <a:cubicBezTo>
                      <a:pt x="1377308" y="-3196"/>
                      <a:pt x="1425600" y="-5196"/>
                      <a:pt x="1453222" y="10806"/>
                    </a:cubicBezTo>
                    <a:lnTo>
                      <a:pt x="3422230" y="1147615"/>
                    </a:lnTo>
                    <a:cubicBezTo>
                      <a:pt x="3449853" y="1163521"/>
                      <a:pt x="3446424" y="1191430"/>
                      <a:pt x="3414515" y="1209813"/>
                    </a:cubicBezTo>
                    <a:lnTo>
                      <a:pt x="2095493" y="1971336"/>
                    </a:lnTo>
                    <a:cubicBezTo>
                      <a:pt x="2063584" y="1989815"/>
                      <a:pt x="2015292" y="1991815"/>
                      <a:pt x="1987670" y="1975813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" name="Google Shape;77;p12"/>
              <p:cNvSpPr/>
              <p:nvPr/>
            </p:nvSpPr>
            <p:spPr>
              <a:xfrm>
                <a:off x="3903733" y="2989259"/>
                <a:ext cx="3440892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08" extrusionOk="0">
                    <a:moveTo>
                      <a:pt x="1987670" y="1975838"/>
                    </a:moveTo>
                    <a:lnTo>
                      <a:pt x="18662" y="838934"/>
                    </a:lnTo>
                    <a:cubicBezTo>
                      <a:pt x="-8961" y="823027"/>
                      <a:pt x="-5532" y="795214"/>
                      <a:pt x="26377" y="776736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7544"/>
                    </a:lnTo>
                    <a:cubicBezTo>
                      <a:pt x="3449853" y="1163546"/>
                      <a:pt x="3446424" y="1191359"/>
                      <a:pt x="3414515" y="1209742"/>
                    </a:cubicBezTo>
                    <a:lnTo>
                      <a:pt x="2095493" y="1971742"/>
                    </a:lnTo>
                    <a:cubicBezTo>
                      <a:pt x="2063584" y="1989744"/>
                      <a:pt x="2015292" y="1991745"/>
                      <a:pt x="1987670" y="1975838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" name="Google Shape;78;p12"/>
              <p:cNvSpPr/>
              <p:nvPr/>
            </p:nvSpPr>
            <p:spPr>
              <a:xfrm>
                <a:off x="5115918" y="3136967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2082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" name="Google Shape;79;p12"/>
              <p:cNvSpPr/>
              <p:nvPr/>
            </p:nvSpPr>
            <p:spPr>
              <a:xfrm>
                <a:off x="5245712" y="3211893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1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12"/>
              <p:cNvSpPr/>
              <p:nvPr/>
            </p:nvSpPr>
            <p:spPr>
              <a:xfrm>
                <a:off x="5376617" y="3287669"/>
                <a:ext cx="220517" cy="127212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2" extrusionOk="0">
                    <a:moveTo>
                      <a:pt x="97114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7002" y="128100"/>
                      <a:pt x="106353" y="128529"/>
                      <a:pt x="9711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" name="Google Shape;81;p12"/>
              <p:cNvSpPr/>
              <p:nvPr/>
            </p:nvSpPr>
            <p:spPr>
              <a:xfrm>
                <a:off x="5505300" y="3361757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82;p12"/>
              <p:cNvSpPr/>
              <p:nvPr/>
            </p:nvSpPr>
            <p:spPr>
              <a:xfrm>
                <a:off x="5635055" y="3436683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;p12"/>
              <p:cNvSpPr/>
              <p:nvPr/>
            </p:nvSpPr>
            <p:spPr>
              <a:xfrm>
                <a:off x="5764856" y="3511602"/>
                <a:ext cx="220517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7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8" y="128234"/>
                      <a:pt x="106077" y="128652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" name="Google Shape;84;p12"/>
              <p:cNvSpPr/>
              <p:nvPr/>
            </p:nvSpPr>
            <p:spPr>
              <a:xfrm>
                <a:off x="5894611" y="3586162"/>
                <a:ext cx="220563" cy="12754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9" extrusionOk="0">
                    <a:moveTo>
                      <a:pt x="96613" y="12477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2"/>
                      <a:pt x="213390" y="72676"/>
                    </a:cubicBezTo>
                    <a:lnTo>
                      <a:pt x="125950" y="123158"/>
                    </a:lnTo>
                    <a:cubicBezTo>
                      <a:pt x="116997" y="128378"/>
                      <a:pt x="106081" y="128978"/>
                      <a:pt x="96613" y="12477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12"/>
              <p:cNvSpPr/>
              <p:nvPr/>
            </p:nvSpPr>
            <p:spPr>
              <a:xfrm>
                <a:off x="6024246" y="3661473"/>
                <a:ext cx="220563" cy="12723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38" extrusionOk="0">
                    <a:moveTo>
                      <a:pt x="9689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576" y="-902"/>
                      <a:pt x="114397" y="-1359"/>
                      <a:pt x="123760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855" y="123190"/>
                    </a:lnTo>
                    <a:cubicBezTo>
                      <a:pt x="116930" y="128114"/>
                      <a:pt x="106215" y="128571"/>
                      <a:pt x="9689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6;p12"/>
              <p:cNvSpPr/>
              <p:nvPr/>
            </p:nvSpPr>
            <p:spPr>
              <a:xfrm>
                <a:off x="6154238" y="3736400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7" y="4163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4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" name="Google Shape;87;p12"/>
              <p:cNvSpPr/>
              <p:nvPr/>
            </p:nvSpPr>
            <p:spPr>
              <a:xfrm>
                <a:off x="6283993" y="3811354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6" y="67131"/>
                      <a:pt x="-1494" y="59606"/>
                      <a:pt x="7174" y="54558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49" y="128167"/>
                      <a:pt x="106100" y="128624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" name="Google Shape;88;p12"/>
              <p:cNvSpPr/>
              <p:nvPr/>
            </p:nvSpPr>
            <p:spPr>
              <a:xfrm>
                <a:off x="6413794" y="3886299"/>
                <a:ext cx="220517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46" extrusionOk="0">
                    <a:moveTo>
                      <a:pt x="96733" y="124393"/>
                    </a:moveTo>
                    <a:lnTo>
                      <a:pt x="5008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12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623"/>
                      <a:pt x="213414" y="72672"/>
                    </a:cubicBezTo>
                    <a:lnTo>
                      <a:pt x="125880" y="123154"/>
                    </a:lnTo>
                    <a:cubicBezTo>
                      <a:pt x="116898" y="128136"/>
                      <a:pt x="106096" y="128593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" name="Google Shape;89;p12"/>
              <p:cNvSpPr/>
              <p:nvPr/>
            </p:nvSpPr>
            <p:spPr>
              <a:xfrm>
                <a:off x="6543549" y="396122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6" y="67087"/>
                      <a:pt x="-1494" y="59563"/>
                      <a:pt x="7174" y="54609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Google Shape;90;p12"/>
              <p:cNvSpPr/>
              <p:nvPr/>
            </p:nvSpPr>
            <p:spPr>
              <a:xfrm>
                <a:off x="6673375" y="4036144"/>
                <a:ext cx="220524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6"/>
                      <a:pt x="114416" y="-1344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138"/>
                    </a:lnTo>
                    <a:cubicBezTo>
                      <a:pt x="116902" y="128215"/>
                      <a:pt x="106062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12"/>
              <p:cNvSpPr/>
              <p:nvPr/>
            </p:nvSpPr>
            <p:spPr>
              <a:xfrm>
                <a:off x="6803525" y="4111089"/>
                <a:ext cx="283033" cy="163345"/>
              </a:xfrm>
              <a:custGeom>
                <a:avLst/>
                <a:gdLst/>
                <a:ahLst/>
                <a:cxnLst/>
                <a:rect l="l" t="t" r="r" b="b"/>
                <a:pathLst>
                  <a:path w="283033" h="163345" extrusionOk="0">
                    <a:moveTo>
                      <a:pt x="159249" y="160492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278026" y="91912"/>
                    </a:lnTo>
                    <a:cubicBezTo>
                      <a:pt x="285455" y="96198"/>
                      <a:pt x="284503" y="103723"/>
                      <a:pt x="275930" y="108772"/>
                    </a:cubicBezTo>
                    <a:lnTo>
                      <a:pt x="188396" y="159254"/>
                    </a:lnTo>
                    <a:cubicBezTo>
                      <a:pt x="179414" y="164236"/>
                      <a:pt x="168612" y="164693"/>
                      <a:pt x="159249" y="1604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" name="Google Shape;92;p12"/>
              <p:cNvSpPr/>
              <p:nvPr/>
            </p:nvSpPr>
            <p:spPr>
              <a:xfrm>
                <a:off x="5182617" y="332072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80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68" y="128234"/>
                      <a:pt x="106148" y="128653"/>
                      <a:pt x="9680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" name="Google Shape;93;p12"/>
              <p:cNvSpPr/>
              <p:nvPr/>
            </p:nvSpPr>
            <p:spPr>
              <a:xfrm>
                <a:off x="5312634" y="3395587"/>
                <a:ext cx="220563" cy="12754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8" extrusionOk="0">
                    <a:moveTo>
                      <a:pt x="96709" y="12456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6141" y="123424"/>
                    </a:lnTo>
                    <a:cubicBezTo>
                      <a:pt x="117073" y="128491"/>
                      <a:pt x="106138" y="128910"/>
                      <a:pt x="96709" y="1245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12"/>
              <p:cNvSpPr/>
              <p:nvPr/>
            </p:nvSpPr>
            <p:spPr>
              <a:xfrm>
                <a:off x="5442650" y="3470843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15485" y="55883"/>
                    </a:lnTo>
                    <a:cubicBezTo>
                      <a:pt x="223010" y="60170"/>
                      <a:pt x="222058" y="67694"/>
                      <a:pt x="213390" y="72647"/>
                    </a:cubicBezTo>
                    <a:lnTo>
                      <a:pt x="125950" y="123225"/>
                    </a:lnTo>
                    <a:cubicBezTo>
                      <a:pt x="116940" y="128226"/>
                      <a:pt x="106081" y="128645"/>
                      <a:pt x="96709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" name="Google Shape;95;p12"/>
              <p:cNvSpPr/>
              <p:nvPr/>
            </p:nvSpPr>
            <p:spPr>
              <a:xfrm>
                <a:off x="5572666" y="354593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96;p12"/>
              <p:cNvSpPr/>
              <p:nvPr/>
            </p:nvSpPr>
            <p:spPr>
              <a:xfrm>
                <a:off x="5701635" y="3620377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12"/>
              <p:cNvSpPr/>
              <p:nvPr/>
            </p:nvSpPr>
            <p:spPr>
              <a:xfrm>
                <a:off x="5831651" y="3695149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98;p12"/>
              <p:cNvSpPr/>
              <p:nvPr/>
            </p:nvSpPr>
            <p:spPr>
              <a:xfrm>
                <a:off x="5961667" y="377049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12"/>
              <p:cNvSpPr/>
              <p:nvPr/>
            </p:nvSpPr>
            <p:spPr>
              <a:xfrm>
                <a:off x="6091683" y="3845548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6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100;p12"/>
              <p:cNvSpPr/>
              <p:nvPr/>
            </p:nvSpPr>
            <p:spPr>
              <a:xfrm>
                <a:off x="6221700" y="3920605"/>
                <a:ext cx="220524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7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891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873" y="128234"/>
                      <a:pt x="106053" y="12865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101;p12"/>
              <p:cNvSpPr/>
              <p:nvPr/>
            </p:nvSpPr>
            <p:spPr>
              <a:xfrm>
                <a:off x="6351691" y="3995706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33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898" y="128190"/>
                      <a:pt x="106077" y="128609"/>
                      <a:pt x="96733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102;p12"/>
              <p:cNvSpPr/>
              <p:nvPr/>
            </p:nvSpPr>
            <p:spPr>
              <a:xfrm>
                <a:off x="6481517" y="4070763"/>
                <a:ext cx="220517" cy="12721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5" extrusionOk="0">
                    <a:moveTo>
                      <a:pt x="96924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09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955" y="128124"/>
                      <a:pt x="106210" y="128543"/>
                      <a:pt x="96924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103;p12"/>
              <p:cNvSpPr/>
              <p:nvPr/>
            </p:nvSpPr>
            <p:spPr>
              <a:xfrm>
                <a:off x="6611724" y="4145820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7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79" y="123190"/>
                    </a:lnTo>
                    <a:cubicBezTo>
                      <a:pt x="11689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104;p12"/>
              <p:cNvSpPr/>
              <p:nvPr/>
            </p:nvSpPr>
            <p:spPr>
              <a:xfrm>
                <a:off x="4990117" y="3209572"/>
                <a:ext cx="283047" cy="163399"/>
              </a:xfrm>
              <a:custGeom>
                <a:avLst/>
                <a:gdLst/>
                <a:ahLst/>
                <a:cxnLst/>
                <a:rect l="l" t="t" r="r" b="b"/>
                <a:pathLst>
                  <a:path w="283047" h="163399" extrusionOk="0">
                    <a:moveTo>
                      <a:pt x="159288" y="1604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77969" y="91888"/>
                    </a:lnTo>
                    <a:cubicBezTo>
                      <a:pt x="285494" y="96269"/>
                      <a:pt x="284542" y="103794"/>
                      <a:pt x="275874" y="108747"/>
                    </a:cubicBezTo>
                    <a:lnTo>
                      <a:pt x="188434" y="159325"/>
                    </a:lnTo>
                    <a:cubicBezTo>
                      <a:pt x="179452" y="164325"/>
                      <a:pt x="168632" y="164745"/>
                      <a:pt x="159288" y="1604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12"/>
              <p:cNvSpPr/>
              <p:nvPr/>
            </p:nvSpPr>
            <p:spPr>
              <a:xfrm>
                <a:off x="6648640" y="4220618"/>
                <a:ext cx="313122" cy="199558"/>
              </a:xfrm>
              <a:custGeom>
                <a:avLst/>
                <a:gdLst/>
                <a:ahLst/>
                <a:cxnLst/>
                <a:rect l="l" t="t" r="r" b="b"/>
                <a:pathLst>
                  <a:path w="313122" h="199558" extrusionOk="0">
                    <a:moveTo>
                      <a:pt x="307467" y="56107"/>
                    </a:moveTo>
                    <a:lnTo>
                      <a:pt x="215836" y="3243"/>
                    </a:lnTo>
                    <a:cubicBezTo>
                      <a:pt x="207274" y="-1081"/>
                      <a:pt x="197158" y="-1081"/>
                      <a:pt x="188595" y="3243"/>
                    </a:cubicBezTo>
                    <a:lnTo>
                      <a:pt x="96107" y="56107"/>
                    </a:lnTo>
                    <a:cubicBezTo>
                      <a:pt x="91764" y="57564"/>
                      <a:pt x="89430" y="62260"/>
                      <a:pt x="90878" y="66594"/>
                    </a:cubicBezTo>
                    <a:cubicBezTo>
                      <a:pt x="91707" y="69061"/>
                      <a:pt x="93640" y="70994"/>
                      <a:pt x="96107" y="71823"/>
                    </a:cubicBezTo>
                    <a:lnTo>
                      <a:pt x="103442" y="76014"/>
                    </a:lnTo>
                    <a:cubicBezTo>
                      <a:pt x="107442" y="77329"/>
                      <a:pt x="109614" y="81634"/>
                      <a:pt x="108299" y="85635"/>
                    </a:cubicBezTo>
                    <a:cubicBezTo>
                      <a:pt x="107547" y="87930"/>
                      <a:pt x="105737" y="89740"/>
                      <a:pt x="103442" y="90492"/>
                    </a:cubicBezTo>
                    <a:lnTo>
                      <a:pt x="5715" y="146880"/>
                    </a:lnTo>
                    <a:cubicBezTo>
                      <a:pt x="-1905" y="151262"/>
                      <a:pt x="-1905" y="158310"/>
                      <a:pt x="5715" y="162596"/>
                    </a:cubicBezTo>
                    <a:lnTo>
                      <a:pt x="64103" y="196315"/>
                    </a:lnTo>
                    <a:cubicBezTo>
                      <a:pt x="72666" y="200639"/>
                      <a:pt x="82782" y="200639"/>
                      <a:pt x="91345" y="196315"/>
                    </a:cubicBezTo>
                    <a:lnTo>
                      <a:pt x="182690" y="143546"/>
                    </a:lnTo>
                    <a:lnTo>
                      <a:pt x="201740" y="132593"/>
                    </a:lnTo>
                    <a:lnTo>
                      <a:pt x="215360" y="124782"/>
                    </a:lnTo>
                    <a:lnTo>
                      <a:pt x="229076" y="116877"/>
                    </a:lnTo>
                    <a:lnTo>
                      <a:pt x="307848" y="71347"/>
                    </a:lnTo>
                    <a:cubicBezTo>
                      <a:pt x="314896" y="67061"/>
                      <a:pt x="314992" y="60108"/>
                      <a:pt x="307467" y="5610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p12"/>
              <p:cNvSpPr/>
              <p:nvPr/>
            </p:nvSpPr>
            <p:spPr>
              <a:xfrm>
                <a:off x="4613284" y="3427765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194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107;p12"/>
              <p:cNvSpPr/>
              <p:nvPr/>
            </p:nvSpPr>
            <p:spPr>
              <a:xfrm>
                <a:off x="4742658" y="3502501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108;p12"/>
              <p:cNvSpPr/>
              <p:nvPr/>
            </p:nvSpPr>
            <p:spPr>
              <a:xfrm>
                <a:off x="4871721" y="3577213"/>
                <a:ext cx="220563" cy="12718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189" extrusionOk="0">
                    <a:moveTo>
                      <a:pt x="97090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3"/>
                    </a:lnTo>
                    <a:cubicBezTo>
                      <a:pt x="223010" y="60099"/>
                      <a:pt x="222058" y="67719"/>
                      <a:pt x="213390" y="72672"/>
                    </a:cubicBezTo>
                    <a:lnTo>
                      <a:pt x="125950" y="123154"/>
                    </a:lnTo>
                    <a:cubicBezTo>
                      <a:pt x="117054" y="128060"/>
                      <a:pt x="106376" y="128517"/>
                      <a:pt x="97090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109;p12"/>
              <p:cNvSpPr/>
              <p:nvPr/>
            </p:nvSpPr>
            <p:spPr>
              <a:xfrm>
                <a:off x="5974216" y="4213507"/>
                <a:ext cx="220549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2082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110;p12"/>
              <p:cNvSpPr/>
              <p:nvPr/>
            </p:nvSpPr>
            <p:spPr>
              <a:xfrm>
                <a:off x="6104041" y="428825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6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111;p12"/>
              <p:cNvSpPr/>
              <p:nvPr/>
            </p:nvSpPr>
            <p:spPr>
              <a:xfrm>
                <a:off x="6233034" y="4362946"/>
                <a:ext cx="220563" cy="12735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51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4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328"/>
                    </a:lnTo>
                    <a:cubicBezTo>
                      <a:pt x="116920" y="128300"/>
                      <a:pt x="106072" y="128681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112;p12"/>
              <p:cNvSpPr/>
              <p:nvPr/>
            </p:nvSpPr>
            <p:spPr>
              <a:xfrm>
                <a:off x="6362479" y="4438082"/>
                <a:ext cx="220563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46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3010" y="60099"/>
                      <a:pt x="222058" y="67624"/>
                      <a:pt x="213390" y="72672"/>
                    </a:cubicBezTo>
                    <a:lnTo>
                      <a:pt x="125950" y="123154"/>
                    </a:lnTo>
                    <a:cubicBezTo>
                      <a:pt x="116940" y="128136"/>
                      <a:pt x="106110" y="128593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113;p12"/>
              <p:cNvSpPr/>
              <p:nvPr/>
            </p:nvSpPr>
            <p:spPr>
              <a:xfrm>
                <a:off x="5001523" y="3651913"/>
                <a:ext cx="253854" cy="146540"/>
              </a:xfrm>
              <a:custGeom>
                <a:avLst/>
                <a:gdLst/>
                <a:ahLst/>
                <a:cxnLst/>
                <a:rect l="l" t="t" r="r" b="b"/>
                <a:pathLst>
                  <a:path w="253854" h="146540" extrusionOk="0">
                    <a:moveTo>
                      <a:pt x="130071" y="143609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3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48847" y="75124"/>
                    </a:lnTo>
                    <a:cubicBezTo>
                      <a:pt x="256277" y="79410"/>
                      <a:pt x="255324" y="86935"/>
                      <a:pt x="246752" y="91888"/>
                    </a:cubicBezTo>
                    <a:lnTo>
                      <a:pt x="159217" y="142465"/>
                    </a:lnTo>
                    <a:cubicBezTo>
                      <a:pt x="150235" y="147466"/>
                      <a:pt x="139415" y="147885"/>
                      <a:pt x="130071" y="14360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114;p12"/>
              <p:cNvSpPr/>
              <p:nvPr/>
            </p:nvSpPr>
            <p:spPr>
              <a:xfrm>
                <a:off x="5811458" y="4119562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3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48823" y="75057"/>
                    </a:lnTo>
                    <a:cubicBezTo>
                      <a:pt x="256348" y="79343"/>
                      <a:pt x="255395" y="86963"/>
                      <a:pt x="246727" y="91916"/>
                    </a:cubicBezTo>
                    <a:lnTo>
                      <a:pt x="159288" y="142399"/>
                    </a:lnTo>
                    <a:cubicBezTo>
                      <a:pt x="150287" y="147428"/>
                      <a:pt x="139438" y="147885"/>
                      <a:pt x="130046" y="14363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115;p12"/>
              <p:cNvSpPr/>
              <p:nvPr/>
            </p:nvSpPr>
            <p:spPr>
              <a:xfrm>
                <a:off x="5164178" y="3745900"/>
                <a:ext cx="738494" cy="426244"/>
              </a:xfrm>
              <a:custGeom>
                <a:avLst/>
                <a:gdLst/>
                <a:ahLst/>
                <a:cxnLst/>
                <a:rect l="l" t="t" r="r" b="b"/>
                <a:pathLst>
                  <a:path w="738494" h="426244" extrusionOk="0">
                    <a:moveTo>
                      <a:pt x="614639" y="423287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733416" y="354802"/>
                    </a:lnTo>
                    <a:cubicBezTo>
                      <a:pt x="740941" y="359089"/>
                      <a:pt x="739989" y="366613"/>
                      <a:pt x="731321" y="371566"/>
                    </a:cubicBezTo>
                    <a:lnTo>
                      <a:pt x="643881" y="422144"/>
                    </a:lnTo>
                    <a:cubicBezTo>
                      <a:pt x="634880" y="427173"/>
                      <a:pt x="624012" y="427602"/>
                      <a:pt x="614639" y="42328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12"/>
              <p:cNvSpPr/>
              <p:nvPr/>
            </p:nvSpPr>
            <p:spPr>
              <a:xfrm>
                <a:off x="5092169" y="3413764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2"/>
                    </a:moveTo>
                    <a:lnTo>
                      <a:pt x="5039" y="71433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099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3"/>
                      <a:pt x="106128" y="128641"/>
                      <a:pt x="96765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117;p12"/>
              <p:cNvSpPr/>
              <p:nvPr/>
            </p:nvSpPr>
            <p:spPr>
              <a:xfrm>
                <a:off x="5221804" y="3488595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2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118;p12"/>
              <p:cNvSpPr/>
              <p:nvPr/>
            </p:nvSpPr>
            <p:spPr>
              <a:xfrm>
                <a:off x="5351534" y="3563461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65" y="124333"/>
                    </a:moveTo>
                    <a:lnTo>
                      <a:pt x="5039" y="71469"/>
                    </a:lnTo>
                    <a:cubicBezTo>
                      <a:pt x="-2390" y="67087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542" y="55848"/>
                    </a:lnTo>
                    <a:cubicBezTo>
                      <a:pt x="222972" y="60134"/>
                      <a:pt x="222019" y="67659"/>
                      <a:pt x="213447" y="72707"/>
                    </a:cubicBezTo>
                    <a:lnTo>
                      <a:pt x="125912" y="123190"/>
                    </a:lnTo>
                    <a:cubicBezTo>
                      <a:pt x="116930" y="128190"/>
                      <a:pt x="106109" y="128609"/>
                      <a:pt x="96765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119;p12"/>
              <p:cNvSpPr/>
              <p:nvPr/>
            </p:nvSpPr>
            <p:spPr>
              <a:xfrm>
                <a:off x="5481392" y="3638284"/>
                <a:ext cx="220517" cy="12722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25" extrusionOk="0">
                    <a:moveTo>
                      <a:pt x="96447" y="124090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774" y="128234"/>
                      <a:pt x="105830" y="128557"/>
                      <a:pt x="96447" y="124090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120;p12"/>
              <p:cNvSpPr/>
              <p:nvPr/>
            </p:nvSpPr>
            <p:spPr>
              <a:xfrm>
                <a:off x="5610742" y="3713151"/>
                <a:ext cx="220517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64" extrusionOk="0">
                    <a:moveTo>
                      <a:pt x="96733" y="124376"/>
                    </a:moveTo>
                    <a:lnTo>
                      <a:pt x="5007" y="71417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6"/>
                      <a:pt x="114440" y="-1344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138"/>
                    </a:lnTo>
                    <a:cubicBezTo>
                      <a:pt x="116917" y="128167"/>
                      <a:pt x="106096" y="128624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5740377" y="3788001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" name="Google Shape;122;p12"/>
              <p:cNvSpPr/>
              <p:nvPr/>
            </p:nvSpPr>
            <p:spPr>
              <a:xfrm>
                <a:off x="5870012" y="3862832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0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12"/>
              <p:cNvSpPr/>
              <p:nvPr/>
            </p:nvSpPr>
            <p:spPr>
              <a:xfrm>
                <a:off x="5999266" y="3937698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124;p12"/>
              <p:cNvSpPr/>
              <p:nvPr/>
            </p:nvSpPr>
            <p:spPr>
              <a:xfrm>
                <a:off x="6129021" y="4012522"/>
                <a:ext cx="220524" cy="12723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37" extrusionOk="0">
                    <a:moveTo>
                      <a:pt x="9699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949" y="128138"/>
                      <a:pt x="106262" y="128557"/>
                      <a:pt x="9699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125;p12"/>
              <p:cNvSpPr/>
              <p:nvPr/>
            </p:nvSpPr>
            <p:spPr>
              <a:xfrm>
                <a:off x="6258942" y="4087388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3" y="54653"/>
                    </a:cubicBezTo>
                    <a:lnTo>
                      <a:pt x="94613" y="4075"/>
                    </a:lnTo>
                    <a:cubicBezTo>
                      <a:pt x="103595" y="-925"/>
                      <a:pt x="114415" y="-1345"/>
                      <a:pt x="123760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126;p12"/>
              <p:cNvSpPr/>
              <p:nvPr/>
            </p:nvSpPr>
            <p:spPr>
              <a:xfrm>
                <a:off x="6388578" y="4161853"/>
                <a:ext cx="220563" cy="127285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5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7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3"/>
                      <a:pt x="213390" y="72676"/>
                    </a:cubicBezTo>
                    <a:lnTo>
                      <a:pt x="125950" y="123158"/>
                    </a:lnTo>
                    <a:cubicBezTo>
                      <a:pt x="116949" y="128187"/>
                      <a:pt x="106100" y="128645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12"/>
              <p:cNvSpPr/>
              <p:nvPr/>
            </p:nvSpPr>
            <p:spPr>
              <a:xfrm>
                <a:off x="6518213" y="4237101"/>
                <a:ext cx="221039" cy="127370"/>
              </a:xfrm>
              <a:custGeom>
                <a:avLst/>
                <a:gdLst/>
                <a:ahLst/>
                <a:cxnLst/>
                <a:rect l="l" t="t" r="r" b="b"/>
                <a:pathLst>
                  <a:path w="221039" h="127370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3" y="54578"/>
                    </a:cubicBezTo>
                    <a:lnTo>
                      <a:pt x="94613" y="4095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962" y="55816"/>
                    </a:lnTo>
                    <a:cubicBezTo>
                      <a:pt x="223486" y="60103"/>
                      <a:pt x="222534" y="67627"/>
                      <a:pt x="213866" y="72676"/>
                    </a:cubicBezTo>
                    <a:lnTo>
                      <a:pt x="126427" y="123158"/>
                    </a:lnTo>
                    <a:cubicBezTo>
                      <a:pt x="117292" y="128302"/>
                      <a:pt x="106243" y="128759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128;p12"/>
              <p:cNvSpPr/>
              <p:nvPr/>
            </p:nvSpPr>
            <p:spPr>
              <a:xfrm>
                <a:off x="4864578" y="3282378"/>
                <a:ext cx="318480" cy="183800"/>
              </a:xfrm>
              <a:custGeom>
                <a:avLst/>
                <a:gdLst/>
                <a:ahLst/>
                <a:cxnLst/>
                <a:rect l="l" t="t" r="r" b="b"/>
                <a:pathLst>
                  <a:path w="318480" h="183800" extrusionOk="0">
                    <a:moveTo>
                      <a:pt x="194721" y="180911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313402" y="112331"/>
                    </a:lnTo>
                    <a:cubicBezTo>
                      <a:pt x="320927" y="116713"/>
                      <a:pt x="319975" y="124237"/>
                      <a:pt x="311307" y="129190"/>
                    </a:cubicBezTo>
                    <a:lnTo>
                      <a:pt x="223867" y="179673"/>
                    </a:lnTo>
                    <a:cubicBezTo>
                      <a:pt x="214904" y="184702"/>
                      <a:pt x="204084" y="185159"/>
                      <a:pt x="194721" y="18091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129;p12"/>
              <p:cNvSpPr/>
              <p:nvPr/>
            </p:nvSpPr>
            <p:spPr>
              <a:xfrm>
                <a:off x="4902011" y="3449213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3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130;p12"/>
              <p:cNvSpPr/>
              <p:nvPr/>
            </p:nvSpPr>
            <p:spPr>
              <a:xfrm>
                <a:off x="5031646" y="352368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2915" y="60099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4"/>
                      <a:pt x="106072" y="128641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131;p12"/>
              <p:cNvSpPr/>
              <p:nvPr/>
            </p:nvSpPr>
            <p:spPr>
              <a:xfrm>
                <a:off x="5161066" y="359889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2"/>
              <p:cNvSpPr/>
              <p:nvPr/>
            </p:nvSpPr>
            <p:spPr>
              <a:xfrm>
                <a:off x="5290892" y="3673717"/>
                <a:ext cx="220517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8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7" y="128234"/>
                      <a:pt x="106077" y="128653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33;p12"/>
              <p:cNvSpPr/>
              <p:nvPr/>
            </p:nvSpPr>
            <p:spPr>
              <a:xfrm>
                <a:off x="5420495" y="3748758"/>
                <a:ext cx="220334" cy="127131"/>
              </a:xfrm>
              <a:custGeom>
                <a:avLst/>
                <a:gdLst/>
                <a:ahLst/>
                <a:cxnLst/>
                <a:rect l="l" t="t" r="r" b="b"/>
                <a:pathLst>
                  <a:path w="220334" h="127131" extrusionOk="0">
                    <a:moveTo>
                      <a:pt x="96765" y="124202"/>
                    </a:moveTo>
                    <a:lnTo>
                      <a:pt x="5039" y="71243"/>
                    </a:lnTo>
                    <a:cubicBezTo>
                      <a:pt x="-2390" y="66957"/>
                      <a:pt x="-1533" y="59432"/>
                      <a:pt x="7135" y="54384"/>
                    </a:cubicBezTo>
                    <a:lnTo>
                      <a:pt x="94479" y="4092"/>
                    </a:lnTo>
                    <a:cubicBezTo>
                      <a:pt x="103461" y="-890"/>
                      <a:pt x="114263" y="-1347"/>
                      <a:pt x="123626" y="2854"/>
                    </a:cubicBezTo>
                    <a:lnTo>
                      <a:pt x="215256" y="55813"/>
                    </a:lnTo>
                    <a:cubicBezTo>
                      <a:pt x="222781" y="60099"/>
                      <a:pt x="221828" y="67719"/>
                      <a:pt x="213161" y="72672"/>
                    </a:cubicBezTo>
                    <a:lnTo>
                      <a:pt x="125721" y="123154"/>
                    </a:lnTo>
                    <a:cubicBezTo>
                      <a:pt x="116777" y="128060"/>
                      <a:pt x="106043" y="128450"/>
                      <a:pt x="96765" y="12420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134;p12"/>
              <p:cNvSpPr/>
              <p:nvPr/>
            </p:nvSpPr>
            <p:spPr>
              <a:xfrm>
                <a:off x="5550092" y="3823398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135;p12"/>
              <p:cNvSpPr/>
              <p:nvPr/>
            </p:nvSpPr>
            <p:spPr>
              <a:xfrm>
                <a:off x="5679727" y="3898222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12"/>
              <p:cNvSpPr/>
              <p:nvPr/>
            </p:nvSpPr>
            <p:spPr>
              <a:xfrm>
                <a:off x="5809362" y="397307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4"/>
                    </a:cubicBezTo>
                    <a:lnTo>
                      <a:pt x="215485" y="55813"/>
                    </a:lnTo>
                    <a:cubicBezTo>
                      <a:pt x="222915" y="60194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3"/>
                      <a:pt x="106072" y="128641"/>
                      <a:pt x="96709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37;p12"/>
              <p:cNvSpPr/>
              <p:nvPr/>
            </p:nvSpPr>
            <p:spPr>
              <a:xfrm>
                <a:off x="5938592" y="4047903"/>
                <a:ext cx="220517" cy="126979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6979" extrusionOk="0">
                    <a:moveTo>
                      <a:pt x="97114" y="124047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45" y="127924"/>
                      <a:pt x="106315" y="128238"/>
                      <a:pt x="97114" y="12404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138;p12"/>
              <p:cNvSpPr/>
              <p:nvPr/>
            </p:nvSpPr>
            <p:spPr>
              <a:xfrm>
                <a:off x="6068608" y="4122734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80" y="123225"/>
                    </a:lnTo>
                    <a:cubicBezTo>
                      <a:pt x="116898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139;p12"/>
              <p:cNvSpPr/>
              <p:nvPr/>
            </p:nvSpPr>
            <p:spPr>
              <a:xfrm>
                <a:off x="6198212" y="4197576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3"/>
                    </a:moveTo>
                    <a:lnTo>
                      <a:pt x="5039" y="71434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194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4"/>
                      <a:pt x="106128" y="128641"/>
                      <a:pt x="96765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140;p12"/>
              <p:cNvSpPr/>
              <p:nvPr/>
            </p:nvSpPr>
            <p:spPr>
              <a:xfrm>
                <a:off x="6327808" y="4272442"/>
                <a:ext cx="380989" cy="219907"/>
              </a:xfrm>
              <a:custGeom>
                <a:avLst/>
                <a:gdLst/>
                <a:ahLst/>
                <a:cxnLst/>
                <a:rect l="l" t="t" r="r" b="b"/>
                <a:pathLst>
                  <a:path w="380989" h="219907" extrusionOk="0">
                    <a:moveTo>
                      <a:pt x="257205" y="216975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624" y="-890"/>
                      <a:pt x="114454" y="-1347"/>
                      <a:pt x="123855" y="2854"/>
                    </a:cubicBezTo>
                    <a:lnTo>
                      <a:pt x="375982" y="148396"/>
                    </a:lnTo>
                    <a:cubicBezTo>
                      <a:pt x="383411" y="152777"/>
                      <a:pt x="382459" y="160302"/>
                      <a:pt x="373886" y="165255"/>
                    </a:cubicBezTo>
                    <a:lnTo>
                      <a:pt x="286351" y="215832"/>
                    </a:lnTo>
                    <a:cubicBezTo>
                      <a:pt x="277369" y="220833"/>
                      <a:pt x="266549" y="221252"/>
                      <a:pt x="257205" y="21697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141;p12"/>
              <p:cNvSpPr/>
              <p:nvPr/>
            </p:nvSpPr>
            <p:spPr>
              <a:xfrm>
                <a:off x="4739038" y="3355149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6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48823" y="75088"/>
                    </a:lnTo>
                    <a:cubicBezTo>
                      <a:pt x="256348" y="79375"/>
                      <a:pt x="255395" y="86899"/>
                      <a:pt x="246727" y="91948"/>
                    </a:cubicBezTo>
                    <a:lnTo>
                      <a:pt x="159288" y="142430"/>
                    </a:lnTo>
                    <a:cubicBezTo>
                      <a:pt x="150277" y="147412"/>
                      <a:pt x="139447" y="147879"/>
                      <a:pt x="130046" y="1436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142;p12"/>
              <p:cNvSpPr/>
              <p:nvPr/>
            </p:nvSpPr>
            <p:spPr>
              <a:xfrm>
                <a:off x="5246664" y="3087528"/>
                <a:ext cx="1926000" cy="1111651"/>
              </a:xfrm>
              <a:custGeom>
                <a:avLst/>
                <a:gdLst/>
                <a:ahLst/>
                <a:cxnLst/>
                <a:rect l="l" t="t" r="r" b="b"/>
                <a:pathLst>
                  <a:path w="1926000" h="1111651" extrusionOk="0">
                    <a:moveTo>
                      <a:pt x="1845936" y="1108805"/>
                    </a:moveTo>
                    <a:lnTo>
                      <a:pt x="5039" y="46196"/>
                    </a:lnTo>
                    <a:cubicBezTo>
                      <a:pt x="-2390" y="41910"/>
                      <a:pt x="-1533" y="34290"/>
                      <a:pt x="7135" y="29337"/>
                    </a:cubicBezTo>
                    <a:lnTo>
                      <a:pt x="50855" y="4096"/>
                    </a:lnTo>
                    <a:cubicBezTo>
                      <a:pt x="59865" y="-886"/>
                      <a:pt x="70695" y="-1353"/>
                      <a:pt x="80097" y="2857"/>
                    </a:cubicBezTo>
                    <a:lnTo>
                      <a:pt x="1920993" y="1065371"/>
                    </a:lnTo>
                    <a:cubicBezTo>
                      <a:pt x="1928423" y="1069658"/>
                      <a:pt x="1927470" y="1077182"/>
                      <a:pt x="1918898" y="1082230"/>
                    </a:cubicBezTo>
                    <a:lnTo>
                      <a:pt x="1875083" y="1107472"/>
                    </a:lnTo>
                    <a:cubicBezTo>
                      <a:pt x="1866129" y="1112529"/>
                      <a:pt x="1855309" y="1113025"/>
                      <a:pt x="1845936" y="110880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143;p12"/>
              <p:cNvSpPr/>
              <p:nvPr/>
            </p:nvSpPr>
            <p:spPr>
              <a:xfrm>
                <a:off x="4501288" y="3792632"/>
                <a:ext cx="1451798" cy="838156"/>
              </a:xfrm>
              <a:custGeom>
                <a:avLst/>
                <a:gdLst/>
                <a:ahLst/>
                <a:cxnLst/>
                <a:rect l="l" t="t" r="r" b="b"/>
                <a:pathLst>
                  <a:path w="1451798" h="838156" extrusionOk="0">
                    <a:moveTo>
                      <a:pt x="1450884" y="524573"/>
                    </a:moveTo>
                    <a:cubicBezTo>
                      <a:pt x="1448283" y="530298"/>
                      <a:pt x="1443816" y="534965"/>
                      <a:pt x="1438216" y="537813"/>
                    </a:cubicBezTo>
                    <a:lnTo>
                      <a:pt x="931581" y="830231"/>
                    </a:lnTo>
                    <a:cubicBezTo>
                      <a:pt x="914321" y="839889"/>
                      <a:pt x="893500" y="840766"/>
                      <a:pt x="875479" y="832612"/>
                    </a:cubicBezTo>
                    <a:lnTo>
                      <a:pt x="9751" y="332740"/>
                    </a:lnTo>
                    <a:cubicBezTo>
                      <a:pt x="5808" y="330683"/>
                      <a:pt x="2709" y="327311"/>
                      <a:pt x="988" y="323215"/>
                    </a:cubicBezTo>
                    <a:cubicBezTo>
                      <a:pt x="-2155" y="315595"/>
                      <a:pt x="2226" y="306641"/>
                      <a:pt x="13752" y="299974"/>
                    </a:cubicBezTo>
                    <a:lnTo>
                      <a:pt x="520387" y="7842"/>
                    </a:lnTo>
                    <a:cubicBezTo>
                      <a:pt x="537674" y="-1740"/>
                      <a:pt x="558477" y="-2588"/>
                      <a:pt x="576489" y="5556"/>
                    </a:cubicBezTo>
                    <a:lnTo>
                      <a:pt x="1442311" y="505428"/>
                    </a:lnTo>
                    <a:cubicBezTo>
                      <a:pt x="1449874" y="508438"/>
                      <a:pt x="1453675" y="516925"/>
                      <a:pt x="1450884" y="52457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144;p12"/>
              <p:cNvSpPr/>
              <p:nvPr/>
            </p:nvSpPr>
            <p:spPr>
              <a:xfrm>
                <a:off x="4502277" y="3802740"/>
                <a:ext cx="1449895" cy="828048"/>
              </a:xfrm>
              <a:custGeom>
                <a:avLst/>
                <a:gdLst/>
                <a:ahLst/>
                <a:cxnLst/>
                <a:rect l="l" t="t" r="r" b="b"/>
                <a:pathLst>
                  <a:path w="1449895" h="828048" extrusionOk="0">
                    <a:moveTo>
                      <a:pt x="1449896" y="514465"/>
                    </a:moveTo>
                    <a:cubicBezTo>
                      <a:pt x="1447295" y="520190"/>
                      <a:pt x="1442828" y="524857"/>
                      <a:pt x="1437227" y="527705"/>
                    </a:cubicBezTo>
                    <a:lnTo>
                      <a:pt x="930593" y="820123"/>
                    </a:lnTo>
                    <a:cubicBezTo>
                      <a:pt x="913333" y="829781"/>
                      <a:pt x="892512" y="830657"/>
                      <a:pt x="874490" y="822504"/>
                    </a:cubicBezTo>
                    <a:lnTo>
                      <a:pt x="8763" y="322632"/>
                    </a:lnTo>
                    <a:cubicBezTo>
                      <a:pt x="4820" y="320575"/>
                      <a:pt x="1720" y="317203"/>
                      <a:pt x="0" y="313107"/>
                    </a:cubicBezTo>
                    <a:cubicBezTo>
                      <a:pt x="2669" y="307582"/>
                      <a:pt x="7089" y="303096"/>
                      <a:pt x="12573" y="300343"/>
                    </a:cubicBezTo>
                    <a:lnTo>
                      <a:pt x="519208" y="7926"/>
                    </a:lnTo>
                    <a:cubicBezTo>
                      <a:pt x="536467" y="-1732"/>
                      <a:pt x="557289" y="-2609"/>
                      <a:pt x="575310" y="5545"/>
                    </a:cubicBezTo>
                    <a:lnTo>
                      <a:pt x="1441323" y="505417"/>
                    </a:lnTo>
                    <a:cubicBezTo>
                      <a:pt x="1445095" y="507417"/>
                      <a:pt x="1448105" y="510598"/>
                      <a:pt x="1449896" y="514465"/>
                    </a:cubicBezTo>
                    <a:close/>
                  </a:path>
                </a:pathLst>
              </a:custGeom>
              <a:solidFill>
                <a:srgbClr val="C3C6D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12"/>
              <p:cNvSpPr/>
              <p:nvPr/>
            </p:nvSpPr>
            <p:spPr>
              <a:xfrm>
                <a:off x="5378291" y="2993528"/>
                <a:ext cx="1867947" cy="1123828"/>
              </a:xfrm>
              <a:custGeom>
                <a:avLst/>
                <a:gdLst/>
                <a:ahLst/>
                <a:cxnLst/>
                <a:rect l="l" t="t" r="r" b="b"/>
                <a:pathLst>
                  <a:path w="1867947" h="1123828" extrusionOk="0">
                    <a:moveTo>
                      <a:pt x="1854422" y="1122224"/>
                    </a:moveTo>
                    <a:lnTo>
                      <a:pt x="13526" y="59425"/>
                    </a:lnTo>
                    <a:cubicBezTo>
                      <a:pt x="5191" y="53395"/>
                      <a:pt x="181" y="43804"/>
                      <a:pt x="0" y="33517"/>
                    </a:cubicBezTo>
                    <a:lnTo>
                      <a:pt x="0" y="11895"/>
                    </a:lnTo>
                    <a:cubicBezTo>
                      <a:pt x="0" y="1894"/>
                      <a:pt x="6096" y="-2678"/>
                      <a:pt x="13526" y="1608"/>
                    </a:cubicBezTo>
                    <a:lnTo>
                      <a:pt x="1854422" y="1064122"/>
                    </a:lnTo>
                    <a:cubicBezTo>
                      <a:pt x="1862804" y="1070103"/>
                      <a:pt x="1867833" y="1079733"/>
                      <a:pt x="1867948" y="1090030"/>
                    </a:cubicBezTo>
                    <a:lnTo>
                      <a:pt x="1867948" y="1111747"/>
                    </a:lnTo>
                    <a:cubicBezTo>
                      <a:pt x="1867948" y="1121938"/>
                      <a:pt x="1861947" y="1126510"/>
                      <a:pt x="1854422" y="1122224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146;p12"/>
              <p:cNvSpPr/>
              <p:nvPr/>
            </p:nvSpPr>
            <p:spPr>
              <a:xfrm>
                <a:off x="5482399" y="1596347"/>
                <a:ext cx="657230" cy="440903"/>
              </a:xfrm>
              <a:custGeom>
                <a:avLst/>
                <a:gdLst/>
                <a:ahLst/>
                <a:cxnLst/>
                <a:rect l="l" t="t" r="r" b="b"/>
                <a:pathLst>
                  <a:path w="657230" h="440903" extrusionOk="0">
                    <a:moveTo>
                      <a:pt x="647700" y="439716"/>
                    </a:moveTo>
                    <a:lnTo>
                      <a:pt x="9525" y="71480"/>
                    </a:lnTo>
                    <a:cubicBezTo>
                      <a:pt x="3610" y="67173"/>
                      <a:pt x="76" y="60320"/>
                      <a:pt x="0" y="53001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647700" y="369422"/>
                    </a:lnTo>
                    <a:cubicBezTo>
                      <a:pt x="653615" y="373729"/>
                      <a:pt x="657149" y="380581"/>
                      <a:pt x="657225" y="387900"/>
                    </a:cubicBezTo>
                    <a:lnTo>
                      <a:pt x="657225" y="432477"/>
                    </a:lnTo>
                    <a:cubicBezTo>
                      <a:pt x="657416" y="439526"/>
                      <a:pt x="653034" y="442860"/>
                      <a:pt x="647700" y="43971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147;p12"/>
              <p:cNvSpPr/>
              <p:nvPr/>
            </p:nvSpPr>
            <p:spPr>
              <a:xfrm>
                <a:off x="5485731" y="1725601"/>
                <a:ext cx="490070" cy="322282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282" extrusionOk="0">
                    <a:moveTo>
                      <a:pt x="480538" y="321130"/>
                    </a:moveTo>
                    <a:lnTo>
                      <a:pt x="9527" y="49191"/>
                    </a:lnTo>
                    <a:cubicBezTo>
                      <a:pt x="3460" y="44756"/>
                      <a:pt x="-93" y="37658"/>
                      <a:pt x="2" y="30141"/>
                    </a:cubicBezTo>
                    <a:lnTo>
                      <a:pt x="2" y="8520"/>
                    </a:lnTo>
                    <a:cubicBezTo>
                      <a:pt x="2" y="1376"/>
                      <a:pt x="4288" y="-1958"/>
                      <a:pt x="9527" y="1185"/>
                    </a:cubicBezTo>
                    <a:lnTo>
                      <a:pt x="480538" y="273124"/>
                    </a:lnTo>
                    <a:cubicBezTo>
                      <a:pt x="486606" y="277563"/>
                      <a:pt x="490158" y="284659"/>
                      <a:pt x="490063" y="292174"/>
                    </a:cubicBezTo>
                    <a:lnTo>
                      <a:pt x="490063" y="314272"/>
                    </a:lnTo>
                    <a:cubicBezTo>
                      <a:pt x="490254" y="320940"/>
                      <a:pt x="486444" y="324178"/>
                      <a:pt x="480538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148;p12"/>
              <p:cNvSpPr/>
              <p:nvPr/>
            </p:nvSpPr>
            <p:spPr>
              <a:xfrm>
                <a:off x="5485731" y="1809557"/>
                <a:ext cx="490070" cy="322194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194" extrusionOk="0">
                    <a:moveTo>
                      <a:pt x="480538" y="321090"/>
                    </a:moveTo>
                    <a:lnTo>
                      <a:pt x="9527" y="49151"/>
                    </a:lnTo>
                    <a:cubicBezTo>
                      <a:pt x="3460" y="44715"/>
                      <a:pt x="-93" y="37618"/>
                      <a:pt x="2" y="30101"/>
                    </a:cubicBezTo>
                    <a:lnTo>
                      <a:pt x="2" y="8479"/>
                    </a:lnTo>
                    <a:cubicBezTo>
                      <a:pt x="2" y="1335"/>
                      <a:pt x="4288" y="-1903"/>
                      <a:pt x="9527" y="1145"/>
                    </a:cubicBezTo>
                    <a:lnTo>
                      <a:pt x="480538" y="273179"/>
                    </a:lnTo>
                    <a:cubicBezTo>
                      <a:pt x="486491" y="277456"/>
                      <a:pt x="490035" y="284323"/>
                      <a:pt x="490063" y="291657"/>
                    </a:cubicBezTo>
                    <a:lnTo>
                      <a:pt x="490063" y="313755"/>
                    </a:lnTo>
                    <a:cubicBezTo>
                      <a:pt x="490254" y="320899"/>
                      <a:pt x="486444" y="324042"/>
                      <a:pt x="480538" y="32109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149;p12"/>
              <p:cNvSpPr/>
              <p:nvPr/>
            </p:nvSpPr>
            <p:spPr>
              <a:xfrm>
                <a:off x="5485733" y="1893472"/>
                <a:ext cx="401289" cy="270998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0998" extrusionOk="0">
                    <a:moveTo>
                      <a:pt x="391763" y="269845"/>
                    </a:moveTo>
                    <a:lnTo>
                      <a:pt x="9525" y="49627"/>
                    </a:lnTo>
                    <a:cubicBezTo>
                      <a:pt x="3572" y="45351"/>
                      <a:pt x="29" y="38479"/>
                      <a:pt x="0" y="31149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821" y="226287"/>
                      <a:pt x="401364" y="233374"/>
                      <a:pt x="401288" y="240889"/>
                    </a:cubicBezTo>
                    <a:lnTo>
                      <a:pt x="401288" y="262987"/>
                    </a:lnTo>
                    <a:cubicBezTo>
                      <a:pt x="401384" y="269655"/>
                      <a:pt x="397097" y="272893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150;p12"/>
              <p:cNvSpPr/>
              <p:nvPr/>
            </p:nvSpPr>
            <p:spPr>
              <a:xfrm>
                <a:off x="5482398" y="2477545"/>
                <a:ext cx="657231" cy="440923"/>
              </a:xfrm>
              <a:custGeom>
                <a:avLst/>
                <a:gdLst/>
                <a:ahLst/>
                <a:cxnLst/>
                <a:rect l="l" t="t" r="r" b="b"/>
                <a:pathLst>
                  <a:path w="657231" h="440923" extrusionOk="0">
                    <a:moveTo>
                      <a:pt x="647701" y="439771"/>
                    </a:moveTo>
                    <a:lnTo>
                      <a:pt x="9526" y="71535"/>
                    </a:lnTo>
                    <a:cubicBezTo>
                      <a:pt x="3477" y="67077"/>
                      <a:pt x="-56" y="59990"/>
                      <a:pt x="1" y="52485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647701" y="369381"/>
                    </a:lnTo>
                    <a:cubicBezTo>
                      <a:pt x="653749" y="373839"/>
                      <a:pt x="657283" y="380926"/>
                      <a:pt x="657226" y="388431"/>
                    </a:cubicBezTo>
                    <a:lnTo>
                      <a:pt x="657226" y="432913"/>
                    </a:lnTo>
                    <a:cubicBezTo>
                      <a:pt x="657416" y="439581"/>
                      <a:pt x="653035" y="442819"/>
                      <a:pt x="647701" y="4397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2"/>
              <p:cNvSpPr/>
              <p:nvPr/>
            </p:nvSpPr>
            <p:spPr>
              <a:xfrm>
                <a:off x="5485733" y="2606854"/>
                <a:ext cx="490068" cy="322274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74" extrusionOk="0">
                    <a:moveTo>
                      <a:pt x="480536" y="321130"/>
                    </a:moveTo>
                    <a:lnTo>
                      <a:pt x="9525" y="49096"/>
                    </a:lnTo>
                    <a:cubicBezTo>
                      <a:pt x="3572" y="44819"/>
                      <a:pt x="29" y="37952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470" y="277420"/>
                      <a:pt x="490004" y="284278"/>
                      <a:pt x="490061" y="291603"/>
                    </a:cubicBezTo>
                    <a:lnTo>
                      <a:pt x="490061" y="313796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152;p12"/>
              <p:cNvSpPr/>
              <p:nvPr/>
            </p:nvSpPr>
            <p:spPr>
              <a:xfrm>
                <a:off x="5485733" y="2690770"/>
                <a:ext cx="490068" cy="322283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83" extrusionOk="0">
                    <a:moveTo>
                      <a:pt x="480536" y="321130"/>
                    </a:moveTo>
                    <a:lnTo>
                      <a:pt x="9525" y="49191"/>
                    </a:lnTo>
                    <a:cubicBezTo>
                      <a:pt x="3591" y="44858"/>
                      <a:pt x="57" y="37971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604" y="277563"/>
                      <a:pt x="490157" y="284659"/>
                      <a:pt x="490061" y="292174"/>
                    </a:cubicBezTo>
                    <a:lnTo>
                      <a:pt x="490061" y="314272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153;p12"/>
              <p:cNvSpPr/>
              <p:nvPr/>
            </p:nvSpPr>
            <p:spPr>
              <a:xfrm>
                <a:off x="5485733" y="2774725"/>
                <a:ext cx="401289" cy="271152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1152" extrusionOk="0">
                    <a:moveTo>
                      <a:pt x="391763" y="269845"/>
                    </a:moveTo>
                    <a:lnTo>
                      <a:pt x="9525" y="49151"/>
                    </a:lnTo>
                    <a:cubicBezTo>
                      <a:pt x="3591" y="44817"/>
                      <a:pt x="57" y="37931"/>
                      <a:pt x="0" y="305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697" y="226135"/>
                      <a:pt x="401231" y="232993"/>
                      <a:pt x="401288" y="240318"/>
                    </a:cubicBezTo>
                    <a:lnTo>
                      <a:pt x="401288" y="262511"/>
                    </a:lnTo>
                    <a:cubicBezTo>
                      <a:pt x="401384" y="269655"/>
                      <a:pt x="397097" y="273274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154;p12"/>
              <p:cNvSpPr/>
              <p:nvPr/>
            </p:nvSpPr>
            <p:spPr>
              <a:xfrm>
                <a:off x="6293929" y="2971606"/>
                <a:ext cx="893444" cy="828868"/>
              </a:xfrm>
              <a:custGeom>
                <a:avLst/>
                <a:gdLst/>
                <a:ahLst/>
                <a:cxnLst/>
                <a:rect l="l" t="t" r="r" b="b"/>
                <a:pathLst>
                  <a:path w="893444" h="828868" extrusionOk="0">
                    <a:moveTo>
                      <a:pt x="6858" y="55057"/>
                    </a:moveTo>
                    <a:cubicBezTo>
                      <a:pt x="6858" y="55057"/>
                      <a:pt x="77248" y="114113"/>
                      <a:pt x="178784" y="33436"/>
                    </a:cubicBezTo>
                    <a:cubicBezTo>
                      <a:pt x="251365" y="-26096"/>
                      <a:pt x="316230" y="7909"/>
                      <a:pt x="352330" y="28483"/>
                    </a:cubicBezTo>
                    <a:cubicBezTo>
                      <a:pt x="388430" y="49057"/>
                      <a:pt x="441007" y="61344"/>
                      <a:pt x="540068" y="240795"/>
                    </a:cubicBezTo>
                    <a:cubicBezTo>
                      <a:pt x="561489" y="276076"/>
                      <a:pt x="590845" y="305889"/>
                      <a:pt x="625793" y="327853"/>
                    </a:cubicBezTo>
                    <a:cubicBezTo>
                      <a:pt x="679228" y="358619"/>
                      <a:pt x="704850" y="343665"/>
                      <a:pt x="746855" y="280228"/>
                    </a:cubicBezTo>
                    <a:cubicBezTo>
                      <a:pt x="788861" y="216792"/>
                      <a:pt x="816293" y="146878"/>
                      <a:pt x="893445" y="192598"/>
                    </a:cubicBezTo>
                    <a:lnTo>
                      <a:pt x="893445" y="828868"/>
                    </a:lnTo>
                    <a:lnTo>
                      <a:pt x="0" y="313090"/>
                    </a:lnTo>
                    <a:lnTo>
                      <a:pt x="0" y="50867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12"/>
              <p:cNvSpPr/>
              <p:nvPr/>
            </p:nvSpPr>
            <p:spPr>
              <a:xfrm>
                <a:off x="5485733" y="2024441"/>
                <a:ext cx="630461" cy="733619"/>
              </a:xfrm>
              <a:custGeom>
                <a:avLst/>
                <a:gdLst/>
                <a:ahLst/>
                <a:cxnLst/>
                <a:rect l="l" t="t" r="r" b="b"/>
                <a:pathLst>
                  <a:path w="630461" h="733619" extrusionOk="0">
                    <a:moveTo>
                      <a:pt x="620935" y="732474"/>
                    </a:moveTo>
                    <a:lnTo>
                      <a:pt x="9525" y="379478"/>
                    </a:lnTo>
                    <a:cubicBezTo>
                      <a:pt x="3591" y="375144"/>
                      <a:pt x="57" y="368257"/>
                      <a:pt x="0" y="360904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620935" y="354141"/>
                    </a:lnTo>
                    <a:cubicBezTo>
                      <a:pt x="626859" y="358485"/>
                      <a:pt x="630384" y="365371"/>
                      <a:pt x="630460" y="372715"/>
                    </a:cubicBezTo>
                    <a:lnTo>
                      <a:pt x="630460" y="725140"/>
                    </a:lnTo>
                    <a:cubicBezTo>
                      <a:pt x="630555" y="732284"/>
                      <a:pt x="626269" y="735522"/>
                      <a:pt x="620935" y="73247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156;p12"/>
              <p:cNvSpPr/>
              <p:nvPr/>
            </p:nvSpPr>
            <p:spPr>
              <a:xfrm>
                <a:off x="6293834" y="3011804"/>
                <a:ext cx="893445" cy="788955"/>
              </a:xfrm>
              <a:custGeom>
                <a:avLst/>
                <a:gdLst/>
                <a:ahLst/>
                <a:cxnLst/>
                <a:rect l="l" t="t" r="r" b="b"/>
                <a:pathLst>
                  <a:path w="893445" h="788955" extrusionOk="0">
                    <a:moveTo>
                      <a:pt x="0" y="0"/>
                    </a:moveTo>
                    <a:lnTo>
                      <a:pt x="0" y="273177"/>
                    </a:lnTo>
                    <a:lnTo>
                      <a:pt x="893445" y="788956"/>
                    </a:lnTo>
                    <a:lnTo>
                      <a:pt x="893445" y="15259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157;p12"/>
              <p:cNvSpPr/>
              <p:nvPr/>
            </p:nvSpPr>
            <p:spPr>
              <a:xfrm>
                <a:off x="6645021" y="3003137"/>
                <a:ext cx="9525" cy="483869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483869" extrusionOk="0">
                    <a:moveTo>
                      <a:pt x="0" y="0"/>
                    </a:moveTo>
                    <a:lnTo>
                      <a:pt x="0" y="483870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158;p12"/>
              <p:cNvSpPr/>
              <p:nvPr/>
            </p:nvSpPr>
            <p:spPr>
              <a:xfrm>
                <a:off x="6918293" y="3309175"/>
                <a:ext cx="9525" cy="335661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335661" extrusionOk="0">
                    <a:moveTo>
                      <a:pt x="0" y="0"/>
                    </a:moveTo>
                    <a:lnTo>
                      <a:pt x="0" y="33566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159;p12"/>
              <p:cNvSpPr/>
              <p:nvPr/>
            </p:nvSpPr>
            <p:spPr>
              <a:xfrm>
                <a:off x="6293834" y="2971929"/>
                <a:ext cx="893349" cy="341800"/>
              </a:xfrm>
              <a:custGeom>
                <a:avLst/>
                <a:gdLst/>
                <a:ahLst/>
                <a:cxnLst/>
                <a:rect l="l" t="t" r="r" b="b"/>
                <a:pathLst>
                  <a:path w="893349" h="341800" extrusionOk="0">
                    <a:moveTo>
                      <a:pt x="0" y="50543"/>
                    </a:moveTo>
                    <a:cubicBezTo>
                      <a:pt x="158496" y="148841"/>
                      <a:pt x="180975" y="-73282"/>
                      <a:pt x="353663" y="26350"/>
                    </a:cubicBezTo>
                    <a:cubicBezTo>
                      <a:pt x="526352" y="125981"/>
                      <a:pt x="502539" y="255997"/>
                      <a:pt x="629888" y="329626"/>
                    </a:cubicBezTo>
                    <a:cubicBezTo>
                      <a:pt x="757238" y="403254"/>
                      <a:pt x="760381" y="115694"/>
                      <a:pt x="893350" y="192466"/>
                    </a:cubicBezTo>
                  </a:path>
                </a:pathLst>
              </a:custGeom>
              <a:noFill/>
              <a:ln w="1037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160;p12"/>
              <p:cNvSpPr/>
              <p:nvPr/>
            </p:nvSpPr>
            <p:spPr>
              <a:xfrm rot="-1801764">
                <a:off x="6627823" y="2973379"/>
                <a:ext cx="34449" cy="59573"/>
              </a:xfrm>
              <a:custGeom>
                <a:avLst/>
                <a:gdLst/>
                <a:ahLst/>
                <a:cxnLst/>
                <a:rect l="l" t="t" r="r" b="b"/>
                <a:pathLst>
                  <a:path w="34480" h="59626" extrusionOk="0">
                    <a:moveTo>
                      <a:pt x="34481" y="29813"/>
                    </a:moveTo>
                    <a:cubicBezTo>
                      <a:pt x="34481" y="46279"/>
                      <a:pt x="26762" y="59626"/>
                      <a:pt x="17240" y="59626"/>
                    </a:cubicBezTo>
                    <a:cubicBezTo>
                      <a:pt x="7719" y="59626"/>
                      <a:pt x="0" y="46279"/>
                      <a:pt x="0" y="29813"/>
                    </a:cubicBezTo>
                    <a:cubicBezTo>
                      <a:pt x="0" y="13348"/>
                      <a:pt x="7719" y="0"/>
                      <a:pt x="17240" y="0"/>
                    </a:cubicBezTo>
                    <a:cubicBezTo>
                      <a:pt x="26762" y="0"/>
                      <a:pt x="34481" y="13348"/>
                      <a:pt x="34481" y="2981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161;p12"/>
              <p:cNvSpPr/>
              <p:nvPr/>
            </p:nvSpPr>
            <p:spPr>
              <a:xfrm rot="-1790023">
                <a:off x="7183546" y="3143044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2"/>
              <p:cNvSpPr/>
              <p:nvPr/>
            </p:nvSpPr>
            <p:spPr>
              <a:xfrm rot="-1790023">
                <a:off x="6913571" y="3282356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163;p12"/>
              <p:cNvSpPr/>
              <p:nvPr/>
            </p:nvSpPr>
            <p:spPr>
              <a:xfrm rot="-1790023">
                <a:off x="6286614" y="3000522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0" y="29917"/>
                    </a:moveTo>
                    <a:cubicBezTo>
                      <a:pt x="34600" y="46439"/>
                      <a:pt x="26855" y="59833"/>
                      <a:pt x="17301" y="59833"/>
                    </a:cubicBezTo>
                    <a:cubicBezTo>
                      <a:pt x="7746" y="59833"/>
                      <a:pt x="1" y="46439"/>
                      <a:pt x="1" y="29917"/>
                    </a:cubicBezTo>
                    <a:cubicBezTo>
                      <a:pt x="1" y="13395"/>
                      <a:pt x="7746" y="1"/>
                      <a:pt x="17301" y="1"/>
                    </a:cubicBezTo>
                    <a:cubicBezTo>
                      <a:pt x="26855" y="1"/>
                      <a:pt x="34600" y="13395"/>
                      <a:pt x="34600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164;p12"/>
              <p:cNvSpPr/>
              <p:nvPr/>
            </p:nvSpPr>
            <p:spPr>
              <a:xfrm>
                <a:off x="6272974" y="2328193"/>
                <a:ext cx="55632" cy="226128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226128" extrusionOk="0">
                    <a:moveTo>
                      <a:pt x="46101" y="224982"/>
                    </a:moveTo>
                    <a:lnTo>
                      <a:pt x="9525" y="203837"/>
                    </a:lnTo>
                    <a:cubicBezTo>
                      <a:pt x="3610" y="199532"/>
                      <a:pt x="76" y="192674"/>
                      <a:pt x="0" y="185358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01" y="22290"/>
                    </a:lnTo>
                    <a:cubicBezTo>
                      <a:pt x="52007" y="26605"/>
                      <a:pt x="55541" y="33454"/>
                      <a:pt x="55626" y="40769"/>
                    </a:cubicBezTo>
                    <a:lnTo>
                      <a:pt x="55626" y="217743"/>
                    </a:lnTo>
                    <a:cubicBezTo>
                      <a:pt x="55817" y="224506"/>
                      <a:pt x="51626" y="228126"/>
                      <a:pt x="46101" y="22498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165;p12"/>
              <p:cNvSpPr/>
              <p:nvPr/>
            </p:nvSpPr>
            <p:spPr>
              <a:xfrm>
                <a:off x="6357270" y="2193891"/>
                <a:ext cx="55722" cy="409197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409197" extrusionOk="0">
                    <a:moveTo>
                      <a:pt x="46196" y="408053"/>
                    </a:moveTo>
                    <a:lnTo>
                      <a:pt x="9525" y="387384"/>
                    </a:lnTo>
                    <a:cubicBezTo>
                      <a:pt x="3620" y="383031"/>
                      <a:pt x="86" y="376154"/>
                      <a:pt x="0" y="368810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96" y="22290"/>
                    </a:lnTo>
                    <a:cubicBezTo>
                      <a:pt x="52254" y="26739"/>
                      <a:pt x="55797" y="33825"/>
                      <a:pt x="55721" y="41340"/>
                    </a:cubicBezTo>
                    <a:lnTo>
                      <a:pt x="55721" y="400719"/>
                    </a:lnTo>
                    <a:cubicBezTo>
                      <a:pt x="55817" y="407862"/>
                      <a:pt x="51530" y="411101"/>
                      <a:pt x="46196" y="4080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166;p12"/>
              <p:cNvSpPr/>
              <p:nvPr/>
            </p:nvSpPr>
            <p:spPr>
              <a:xfrm>
                <a:off x="6526149" y="2326193"/>
                <a:ext cx="55625" cy="374240"/>
              </a:xfrm>
              <a:custGeom>
                <a:avLst/>
                <a:gdLst/>
                <a:ahLst/>
                <a:cxnLst/>
                <a:rect l="l" t="t" r="r" b="b"/>
                <a:pathLst>
                  <a:path w="55625" h="374240" extrusionOk="0">
                    <a:moveTo>
                      <a:pt x="46101" y="373096"/>
                    </a:moveTo>
                    <a:lnTo>
                      <a:pt x="9525" y="351951"/>
                    </a:lnTo>
                    <a:cubicBezTo>
                      <a:pt x="3591" y="347617"/>
                      <a:pt x="57" y="340730"/>
                      <a:pt x="0" y="3333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46101" y="22290"/>
                    </a:lnTo>
                    <a:cubicBezTo>
                      <a:pt x="52006" y="26643"/>
                      <a:pt x="55540" y="33520"/>
                      <a:pt x="55626" y="40864"/>
                    </a:cubicBezTo>
                    <a:lnTo>
                      <a:pt x="55626" y="365762"/>
                    </a:lnTo>
                    <a:cubicBezTo>
                      <a:pt x="55626" y="372906"/>
                      <a:pt x="51245" y="376144"/>
                      <a:pt x="46101" y="37309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167;p12"/>
              <p:cNvSpPr/>
              <p:nvPr/>
            </p:nvSpPr>
            <p:spPr>
              <a:xfrm>
                <a:off x="6610350" y="2430587"/>
                <a:ext cx="55627" cy="318519"/>
              </a:xfrm>
              <a:custGeom>
                <a:avLst/>
                <a:gdLst/>
                <a:ahLst/>
                <a:cxnLst/>
                <a:rect l="l" t="t" r="r" b="b"/>
                <a:pathLst>
                  <a:path w="55627" h="318519" extrusionOk="0">
                    <a:moveTo>
                      <a:pt x="46006" y="317375"/>
                    </a:moveTo>
                    <a:lnTo>
                      <a:pt x="9525" y="296229"/>
                    </a:lnTo>
                    <a:cubicBezTo>
                      <a:pt x="3620" y="291915"/>
                      <a:pt x="86" y="285066"/>
                      <a:pt x="0" y="277751"/>
                    </a:cubicBezTo>
                    <a:lnTo>
                      <a:pt x="0" y="8479"/>
                    </a:lnTo>
                    <a:cubicBezTo>
                      <a:pt x="0" y="1335"/>
                      <a:pt x="4381" y="-1903"/>
                      <a:pt x="9525" y="1145"/>
                    </a:cubicBezTo>
                    <a:lnTo>
                      <a:pt x="46101" y="22290"/>
                    </a:lnTo>
                    <a:cubicBezTo>
                      <a:pt x="52035" y="26624"/>
                      <a:pt x="55569" y="33511"/>
                      <a:pt x="55626" y="40864"/>
                    </a:cubicBezTo>
                    <a:lnTo>
                      <a:pt x="55626" y="310041"/>
                    </a:lnTo>
                    <a:cubicBezTo>
                      <a:pt x="55721" y="317184"/>
                      <a:pt x="51435" y="320423"/>
                      <a:pt x="46006" y="31737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168;p12"/>
              <p:cNvSpPr/>
              <p:nvPr/>
            </p:nvSpPr>
            <p:spPr>
              <a:xfrm>
                <a:off x="6778179" y="2662902"/>
                <a:ext cx="55632" cy="183161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183161" extrusionOk="0">
                    <a:moveTo>
                      <a:pt x="46102" y="182025"/>
                    </a:moveTo>
                    <a:lnTo>
                      <a:pt x="9526" y="160879"/>
                    </a:lnTo>
                    <a:cubicBezTo>
                      <a:pt x="3477" y="156421"/>
                      <a:pt x="-56" y="149335"/>
                      <a:pt x="1" y="141829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46102" y="22290"/>
                    </a:lnTo>
                    <a:cubicBezTo>
                      <a:pt x="52036" y="26624"/>
                      <a:pt x="55570" y="33511"/>
                      <a:pt x="55627" y="40864"/>
                    </a:cubicBezTo>
                    <a:lnTo>
                      <a:pt x="55627" y="174214"/>
                    </a:lnTo>
                    <a:cubicBezTo>
                      <a:pt x="55817" y="181834"/>
                      <a:pt x="51245" y="185073"/>
                      <a:pt x="46102" y="18202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12"/>
              <p:cNvSpPr/>
              <p:nvPr/>
            </p:nvSpPr>
            <p:spPr>
              <a:xfrm>
                <a:off x="6862476" y="2392923"/>
                <a:ext cx="55722" cy="501818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501818" extrusionOk="0">
                    <a:moveTo>
                      <a:pt x="46196" y="500676"/>
                    </a:moveTo>
                    <a:lnTo>
                      <a:pt x="9525" y="479531"/>
                    </a:lnTo>
                    <a:cubicBezTo>
                      <a:pt x="3620" y="475178"/>
                      <a:pt x="86" y="468301"/>
                      <a:pt x="0" y="460957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493152"/>
                    </a:lnTo>
                    <a:cubicBezTo>
                      <a:pt x="55816" y="500486"/>
                      <a:pt x="51530" y="503724"/>
                      <a:pt x="46196" y="50067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170;p12"/>
              <p:cNvSpPr/>
              <p:nvPr/>
            </p:nvSpPr>
            <p:spPr>
              <a:xfrm>
                <a:off x="7068216" y="2830406"/>
                <a:ext cx="55722" cy="183106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183106" extrusionOk="0">
                    <a:moveTo>
                      <a:pt x="46196" y="181970"/>
                    </a:moveTo>
                    <a:lnTo>
                      <a:pt x="9525" y="160443"/>
                    </a:lnTo>
                    <a:cubicBezTo>
                      <a:pt x="3620" y="156090"/>
                      <a:pt x="86" y="149213"/>
                      <a:pt x="0" y="141870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174159"/>
                    </a:lnTo>
                    <a:cubicBezTo>
                      <a:pt x="55816" y="181779"/>
                      <a:pt x="51530" y="185018"/>
                      <a:pt x="46196" y="1819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171;p12"/>
              <p:cNvSpPr/>
              <p:nvPr/>
            </p:nvSpPr>
            <p:spPr>
              <a:xfrm>
                <a:off x="7152513" y="2836026"/>
                <a:ext cx="55727" cy="226167"/>
              </a:xfrm>
              <a:custGeom>
                <a:avLst/>
                <a:gdLst/>
                <a:ahLst/>
                <a:cxnLst/>
                <a:rect l="l" t="t" r="r" b="b"/>
                <a:pathLst>
                  <a:path w="55727" h="226167" extrusionOk="0">
                    <a:moveTo>
                      <a:pt x="46196" y="225023"/>
                    </a:moveTo>
                    <a:lnTo>
                      <a:pt x="9525" y="203877"/>
                    </a:lnTo>
                    <a:cubicBezTo>
                      <a:pt x="3591" y="199582"/>
                      <a:pt x="57" y="192724"/>
                      <a:pt x="0" y="185399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6196" y="22331"/>
                    </a:lnTo>
                    <a:cubicBezTo>
                      <a:pt x="52111" y="26636"/>
                      <a:pt x="55645" y="33494"/>
                      <a:pt x="55721" y="40809"/>
                    </a:cubicBezTo>
                    <a:lnTo>
                      <a:pt x="55721" y="217689"/>
                    </a:lnTo>
                    <a:cubicBezTo>
                      <a:pt x="55912" y="224832"/>
                      <a:pt x="51530" y="228071"/>
                      <a:pt x="46196" y="22502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72" name="Google Shape;172;p12"/>
            <p:cNvSpPr/>
            <p:nvPr/>
          </p:nvSpPr>
          <p:spPr>
            <a:xfrm>
              <a:off x="6986665" y="3342725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173;p12"/>
            <p:cNvSpPr/>
            <p:nvPr/>
          </p:nvSpPr>
          <p:spPr>
            <a:xfrm>
              <a:off x="7014156" y="3327342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7014156" y="3298709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2"/>
            <p:cNvSpPr/>
            <p:nvPr/>
          </p:nvSpPr>
          <p:spPr>
            <a:xfrm>
              <a:off x="7976493" y="3396565"/>
              <a:ext cx="664277" cy="383503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7912754" y="3450709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12"/>
            <p:cNvSpPr/>
            <p:nvPr/>
          </p:nvSpPr>
          <p:spPr>
            <a:xfrm>
              <a:off x="7863331" y="3479190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12"/>
            <p:cNvSpPr/>
            <p:nvPr/>
          </p:nvSpPr>
          <p:spPr>
            <a:xfrm>
              <a:off x="7813984" y="3507747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12"/>
            <p:cNvSpPr/>
            <p:nvPr/>
          </p:nvSpPr>
          <p:spPr>
            <a:xfrm>
              <a:off x="7451727" y="3699575"/>
              <a:ext cx="664201" cy="38350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2"/>
            <p:cNvSpPr/>
            <p:nvPr/>
          </p:nvSpPr>
          <p:spPr>
            <a:xfrm>
              <a:off x="7387988" y="3753643"/>
              <a:ext cx="592922" cy="342381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2"/>
            <p:cNvSpPr/>
            <p:nvPr/>
          </p:nvSpPr>
          <p:spPr>
            <a:xfrm>
              <a:off x="7338565" y="3782200"/>
              <a:ext cx="581727" cy="33583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12"/>
            <p:cNvSpPr/>
            <p:nvPr/>
          </p:nvSpPr>
          <p:spPr>
            <a:xfrm>
              <a:off x="7289218" y="3810681"/>
              <a:ext cx="496361" cy="286637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12"/>
            <p:cNvSpPr/>
            <p:nvPr/>
          </p:nvSpPr>
          <p:spPr>
            <a:xfrm>
              <a:off x="7582329" y="3561435"/>
              <a:ext cx="337202" cy="194645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12"/>
            <p:cNvSpPr/>
            <p:nvPr/>
          </p:nvSpPr>
          <p:spPr>
            <a:xfrm>
              <a:off x="7800200" y="3687162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12"/>
            <p:cNvSpPr/>
            <p:nvPr/>
          </p:nvSpPr>
          <p:spPr>
            <a:xfrm>
              <a:off x="8018073" y="3812966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12"/>
            <p:cNvSpPr/>
            <p:nvPr/>
          </p:nvSpPr>
          <p:spPr>
            <a:xfrm>
              <a:off x="6687910" y="670084"/>
              <a:ext cx="163899" cy="239625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12"/>
            <p:cNvSpPr/>
            <p:nvPr/>
          </p:nvSpPr>
          <p:spPr>
            <a:xfrm>
              <a:off x="6700339" y="668001"/>
              <a:ext cx="78506" cy="96744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12"/>
            <p:cNvSpPr/>
            <p:nvPr/>
          </p:nvSpPr>
          <p:spPr>
            <a:xfrm>
              <a:off x="6715688" y="773039"/>
              <a:ext cx="96838" cy="108380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12"/>
            <p:cNvSpPr/>
            <p:nvPr/>
          </p:nvSpPr>
          <p:spPr>
            <a:xfrm>
              <a:off x="6550295" y="816287"/>
              <a:ext cx="182749" cy="260151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2"/>
            <p:cNvSpPr/>
            <p:nvPr/>
          </p:nvSpPr>
          <p:spPr>
            <a:xfrm>
              <a:off x="6687493" y="808527"/>
              <a:ext cx="141166" cy="186207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191;p12"/>
            <p:cNvSpPr/>
            <p:nvPr/>
          </p:nvSpPr>
          <p:spPr>
            <a:xfrm>
              <a:off x="6712641" y="675415"/>
              <a:ext cx="103849" cy="127932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192;p12"/>
            <p:cNvSpPr/>
            <p:nvPr/>
          </p:nvSpPr>
          <p:spPr>
            <a:xfrm>
              <a:off x="6716857" y="674913"/>
              <a:ext cx="104260" cy="98126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12"/>
            <p:cNvSpPr/>
            <p:nvPr/>
          </p:nvSpPr>
          <p:spPr>
            <a:xfrm>
              <a:off x="6591681" y="1319278"/>
              <a:ext cx="81988" cy="62539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194;p12"/>
            <p:cNvSpPr/>
            <p:nvPr/>
          </p:nvSpPr>
          <p:spPr>
            <a:xfrm>
              <a:off x="6592043" y="1339232"/>
              <a:ext cx="81616" cy="42611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195;p12"/>
            <p:cNvSpPr/>
            <p:nvPr/>
          </p:nvSpPr>
          <p:spPr>
            <a:xfrm>
              <a:off x="6550653" y="1292322"/>
              <a:ext cx="75049" cy="58139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196;p12"/>
            <p:cNvSpPr/>
            <p:nvPr/>
          </p:nvSpPr>
          <p:spPr>
            <a:xfrm>
              <a:off x="6550998" y="1311512"/>
              <a:ext cx="74752" cy="39022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197;p12"/>
            <p:cNvSpPr/>
            <p:nvPr/>
          </p:nvSpPr>
          <p:spPr>
            <a:xfrm>
              <a:off x="6578488" y="992358"/>
              <a:ext cx="178709" cy="30823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198;p12"/>
            <p:cNvSpPr/>
            <p:nvPr/>
          </p:nvSpPr>
          <p:spPr>
            <a:xfrm>
              <a:off x="6627226" y="992967"/>
              <a:ext cx="177917" cy="333745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12"/>
            <p:cNvSpPr/>
            <p:nvPr/>
          </p:nvSpPr>
          <p:spPr>
            <a:xfrm>
              <a:off x="6560953" y="971949"/>
              <a:ext cx="266059" cy="244904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12"/>
            <p:cNvSpPr/>
            <p:nvPr/>
          </p:nvSpPr>
          <p:spPr>
            <a:xfrm>
              <a:off x="6774876" y="827227"/>
              <a:ext cx="92463" cy="32416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12"/>
            <p:cNvSpPr/>
            <p:nvPr/>
          </p:nvSpPr>
          <p:spPr>
            <a:xfrm>
              <a:off x="6792998" y="823141"/>
              <a:ext cx="55907" cy="7110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12"/>
            <p:cNvSpPr/>
            <p:nvPr/>
          </p:nvSpPr>
          <p:spPr>
            <a:xfrm>
              <a:off x="6683350" y="808424"/>
              <a:ext cx="47823" cy="5021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3" name="Google Shape;203;p12"/>
            <p:cNvGrpSpPr/>
            <p:nvPr/>
          </p:nvGrpSpPr>
          <p:grpSpPr>
            <a:xfrm flipH="1">
              <a:off x="5678143" y="1227582"/>
              <a:ext cx="345795" cy="1043508"/>
              <a:chOff x="5678143" y="1151382"/>
              <a:chExt cx="345795" cy="1043508"/>
            </a:xfrm>
          </p:grpSpPr>
          <p:sp>
            <p:nvSpPr>
              <p:cNvPr id="204" name="Google Shape;204;p12"/>
              <p:cNvSpPr/>
              <p:nvPr/>
            </p:nvSpPr>
            <p:spPr>
              <a:xfrm>
                <a:off x="5678143" y="199524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205;p12"/>
              <p:cNvSpPr/>
              <p:nvPr/>
            </p:nvSpPr>
            <p:spPr>
              <a:xfrm>
                <a:off x="5781662" y="1153715"/>
                <a:ext cx="174078" cy="254926"/>
              </a:xfrm>
              <a:custGeom>
                <a:avLst/>
                <a:gdLst/>
                <a:ahLst/>
                <a:cxnLst/>
                <a:rect l="l" t="t" r="r" b="b"/>
                <a:pathLst>
                  <a:path w="217597" h="318657" extrusionOk="0">
                    <a:moveTo>
                      <a:pt x="77117" y="10535"/>
                    </a:moveTo>
                    <a:cubicBezTo>
                      <a:pt x="85785" y="-3371"/>
                      <a:pt x="151983" y="-12515"/>
                      <a:pt x="173796" y="43587"/>
                    </a:cubicBezTo>
                    <a:cubicBezTo>
                      <a:pt x="181987" y="64828"/>
                      <a:pt x="180749" y="119216"/>
                      <a:pt x="187702" y="153315"/>
                    </a:cubicBezTo>
                    <a:cubicBezTo>
                      <a:pt x="194655" y="187415"/>
                      <a:pt x="210848" y="206846"/>
                      <a:pt x="216277" y="234563"/>
                    </a:cubicBezTo>
                    <a:cubicBezTo>
                      <a:pt x="221706" y="262281"/>
                      <a:pt x="212658" y="308668"/>
                      <a:pt x="145888" y="316954"/>
                    </a:cubicBezTo>
                    <a:cubicBezTo>
                      <a:pt x="79117" y="325241"/>
                      <a:pt x="27778" y="301715"/>
                      <a:pt x="11966" y="280379"/>
                    </a:cubicBezTo>
                    <a:cubicBezTo>
                      <a:pt x="-3845" y="259043"/>
                      <a:pt x="-4131" y="213704"/>
                      <a:pt x="11966" y="189605"/>
                    </a:cubicBezTo>
                    <a:cubicBezTo>
                      <a:pt x="28063" y="165507"/>
                      <a:pt x="40541" y="145505"/>
                      <a:pt x="40541" y="113405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206;p12"/>
              <p:cNvSpPr/>
              <p:nvPr/>
            </p:nvSpPr>
            <p:spPr>
              <a:xfrm>
                <a:off x="5776639" y="1337053"/>
                <a:ext cx="32518" cy="188360"/>
              </a:xfrm>
              <a:custGeom>
                <a:avLst/>
                <a:gdLst/>
                <a:ahLst/>
                <a:cxnLst/>
                <a:rect l="l" t="t" r="r" b="b"/>
                <a:pathLst>
                  <a:path w="40647" h="235450" extrusionOk="0">
                    <a:moveTo>
                      <a:pt x="4152" y="15917"/>
                    </a:moveTo>
                    <a:cubicBezTo>
                      <a:pt x="4152" y="15917"/>
                      <a:pt x="-11564" y="127074"/>
                      <a:pt x="18154" y="205274"/>
                    </a:cubicBezTo>
                    <a:cubicBezTo>
                      <a:pt x="47872" y="283474"/>
                      <a:pt x="39585" y="184986"/>
                      <a:pt x="39585" y="184986"/>
                    </a:cubicBezTo>
                    <a:lnTo>
                      <a:pt x="32442" y="161554"/>
                    </a:lnTo>
                    <a:cubicBezTo>
                      <a:pt x="32442" y="161554"/>
                      <a:pt x="26536" y="71067"/>
                      <a:pt x="29013" y="48873"/>
                    </a:cubicBezTo>
                    <a:cubicBezTo>
                      <a:pt x="31489" y="26680"/>
                      <a:pt x="30918" y="7630"/>
                      <a:pt x="32442" y="5820"/>
                    </a:cubicBezTo>
                    <a:cubicBezTo>
                      <a:pt x="33966" y="4011"/>
                      <a:pt x="26632" y="486"/>
                      <a:pt x="23488" y="10"/>
                    </a:cubicBezTo>
                    <a:cubicBezTo>
                      <a:pt x="20345" y="-466"/>
                      <a:pt x="4152" y="15917"/>
                      <a:pt x="4152" y="1591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07;p12"/>
              <p:cNvSpPr/>
              <p:nvPr/>
            </p:nvSpPr>
            <p:spPr>
              <a:xfrm>
                <a:off x="5795186" y="1151382"/>
                <a:ext cx="83137" cy="102663"/>
              </a:xfrm>
              <a:custGeom>
                <a:avLst/>
                <a:gdLst/>
                <a:ahLst/>
                <a:cxnLst/>
                <a:rect l="l" t="t" r="r" b="b"/>
                <a:pathLst>
                  <a:path w="103921" h="128329" extrusionOk="0">
                    <a:moveTo>
                      <a:pt x="103921" y="3833"/>
                    </a:moveTo>
                    <a:cubicBezTo>
                      <a:pt x="103921" y="3833"/>
                      <a:pt x="54105" y="-10550"/>
                      <a:pt x="23911" y="16406"/>
                    </a:cubicBezTo>
                    <a:cubicBezTo>
                      <a:pt x="3585" y="35104"/>
                      <a:pt x="-4645" y="63564"/>
                      <a:pt x="2575" y="90225"/>
                    </a:cubicBezTo>
                    <a:cubicBezTo>
                      <a:pt x="6576" y="105941"/>
                      <a:pt x="14672" y="127468"/>
                      <a:pt x="27150" y="128325"/>
                    </a:cubicBezTo>
                    <a:cubicBezTo>
                      <a:pt x="39627" y="129182"/>
                      <a:pt x="103921" y="3833"/>
                      <a:pt x="103921" y="3833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08;p12"/>
              <p:cNvSpPr/>
              <p:nvPr/>
            </p:nvSpPr>
            <p:spPr>
              <a:xfrm>
                <a:off x="5811517" y="1263498"/>
                <a:ext cx="102898" cy="115088"/>
              </a:xfrm>
              <a:custGeom>
                <a:avLst/>
                <a:gdLst/>
                <a:ahLst/>
                <a:cxnLst/>
                <a:rect l="l" t="t" r="r" b="b"/>
                <a:pathLst>
                  <a:path w="128622" h="143860" extrusionOk="0">
                    <a:moveTo>
                      <a:pt x="102545" y="0"/>
                    </a:moveTo>
                    <a:cubicBezTo>
                      <a:pt x="102545" y="0"/>
                      <a:pt x="99307" y="55531"/>
                      <a:pt x="100355" y="59627"/>
                    </a:cubicBezTo>
                    <a:cubicBezTo>
                      <a:pt x="101402" y="63722"/>
                      <a:pt x="122071" y="67628"/>
                      <a:pt x="127977" y="72485"/>
                    </a:cubicBezTo>
                    <a:cubicBezTo>
                      <a:pt x="133883" y="77343"/>
                      <a:pt x="97783" y="133636"/>
                      <a:pt x="79400" y="142018"/>
                    </a:cubicBezTo>
                    <a:cubicBezTo>
                      <a:pt x="61016" y="150400"/>
                      <a:pt x="4343" y="129064"/>
                      <a:pt x="437" y="100774"/>
                    </a:cubicBezTo>
                    <a:cubicBezTo>
                      <a:pt x="-3182" y="74866"/>
                      <a:pt x="16630" y="54673"/>
                      <a:pt x="24345" y="47625"/>
                    </a:cubicBezTo>
                    <a:cubicBezTo>
                      <a:pt x="29546" y="47282"/>
                      <a:pt x="34765" y="47282"/>
                      <a:pt x="39966" y="47625"/>
                    </a:cubicBezTo>
                    <a:lnTo>
                      <a:pt x="41585" y="20764"/>
                    </a:lnTo>
                    <a:cubicBezTo>
                      <a:pt x="66446" y="11906"/>
                      <a:pt x="102545" y="0"/>
                      <a:pt x="102545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09;p12"/>
              <p:cNvSpPr/>
              <p:nvPr/>
            </p:nvSpPr>
            <p:spPr>
              <a:xfrm>
                <a:off x="5781607" y="1300507"/>
                <a:ext cx="149918" cy="172167"/>
              </a:xfrm>
              <a:custGeom>
                <a:avLst/>
                <a:gdLst/>
                <a:ahLst/>
                <a:cxnLst/>
                <a:rect l="l" t="t" r="r" b="b"/>
                <a:pathLst>
                  <a:path w="187397" h="215209" extrusionOk="0">
                    <a:moveTo>
                      <a:pt x="147575" y="18193"/>
                    </a:moveTo>
                    <a:cubicBezTo>
                      <a:pt x="163196" y="20669"/>
                      <a:pt x="181008" y="28956"/>
                      <a:pt x="183485" y="37243"/>
                    </a:cubicBezTo>
                    <a:cubicBezTo>
                      <a:pt x="189933" y="68008"/>
                      <a:pt x="188390" y="99917"/>
                      <a:pt x="179008" y="129921"/>
                    </a:cubicBezTo>
                    <a:cubicBezTo>
                      <a:pt x="165482" y="165640"/>
                      <a:pt x="156434" y="188405"/>
                      <a:pt x="148623" y="203835"/>
                    </a:cubicBezTo>
                    <a:cubicBezTo>
                      <a:pt x="148623" y="203835"/>
                      <a:pt x="81091" y="232410"/>
                      <a:pt x="26703" y="198977"/>
                    </a:cubicBezTo>
                    <a:cubicBezTo>
                      <a:pt x="26703" y="198977"/>
                      <a:pt x="22893" y="160877"/>
                      <a:pt x="22703" y="140208"/>
                    </a:cubicBezTo>
                    <a:cubicBezTo>
                      <a:pt x="-27589" y="96393"/>
                      <a:pt x="15368" y="42291"/>
                      <a:pt x="57945" y="286"/>
                    </a:cubicBezTo>
                    <a:cubicBezTo>
                      <a:pt x="63050" y="-95"/>
                      <a:pt x="68175" y="-95"/>
                      <a:pt x="73280" y="286"/>
                    </a:cubicBezTo>
                    <a:cubicBezTo>
                      <a:pt x="73280" y="286"/>
                      <a:pt x="35180" y="45244"/>
                      <a:pt x="61755" y="70771"/>
                    </a:cubicBezTo>
                    <a:cubicBezTo>
                      <a:pt x="118238" y="53721"/>
                      <a:pt x="129478" y="28384"/>
                      <a:pt x="147575" y="18193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10;p12"/>
              <p:cNvSpPr/>
              <p:nvPr/>
            </p:nvSpPr>
            <p:spPr>
              <a:xfrm>
                <a:off x="5808246" y="1159602"/>
                <a:ext cx="110823" cy="136345"/>
              </a:xfrm>
              <a:custGeom>
                <a:avLst/>
                <a:gdLst/>
                <a:ahLst/>
                <a:cxnLst/>
                <a:rect l="l" t="t" r="r" b="b"/>
                <a:pathLst>
                  <a:path w="138529" h="170431" extrusionOk="0">
                    <a:moveTo>
                      <a:pt x="2908" y="60608"/>
                    </a:moveTo>
                    <a:lnTo>
                      <a:pt x="2908" y="60608"/>
                    </a:lnTo>
                    <a:cubicBezTo>
                      <a:pt x="8528" y="24890"/>
                      <a:pt x="34245" y="-2066"/>
                      <a:pt x="71107" y="125"/>
                    </a:cubicBezTo>
                    <a:cubicBezTo>
                      <a:pt x="110150" y="1972"/>
                      <a:pt x="140297" y="35129"/>
                      <a:pt x="138449" y="74172"/>
                    </a:cubicBezTo>
                    <a:cubicBezTo>
                      <a:pt x="137372" y="96775"/>
                      <a:pt x="125552" y="117511"/>
                      <a:pt x="106635" y="129950"/>
                    </a:cubicBezTo>
                    <a:cubicBezTo>
                      <a:pt x="105369" y="135322"/>
                      <a:pt x="103483" y="140533"/>
                      <a:pt x="101016" y="145476"/>
                    </a:cubicBezTo>
                    <a:cubicBezTo>
                      <a:pt x="87966" y="160716"/>
                      <a:pt x="53391" y="170336"/>
                      <a:pt x="41865" y="170432"/>
                    </a:cubicBezTo>
                    <a:cubicBezTo>
                      <a:pt x="32340" y="170432"/>
                      <a:pt x="23482" y="161383"/>
                      <a:pt x="14243" y="146048"/>
                    </a:cubicBezTo>
                    <a:cubicBezTo>
                      <a:pt x="-5093" y="113663"/>
                      <a:pt x="-140" y="78230"/>
                      <a:pt x="2908" y="60608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12"/>
              <p:cNvSpPr/>
              <p:nvPr/>
            </p:nvSpPr>
            <p:spPr>
              <a:xfrm>
                <a:off x="5812703" y="1158869"/>
                <a:ext cx="110779" cy="104694"/>
              </a:xfrm>
              <a:custGeom>
                <a:avLst/>
                <a:gdLst/>
                <a:ahLst/>
                <a:cxnLst/>
                <a:rect l="l" t="t" r="r" b="b"/>
                <a:pathLst>
                  <a:path w="138474" h="130867" extrusionOk="0">
                    <a:moveTo>
                      <a:pt x="76867" y="1709"/>
                    </a:moveTo>
                    <a:cubicBezTo>
                      <a:pt x="102679" y="6757"/>
                      <a:pt x="123920" y="13996"/>
                      <a:pt x="130969" y="39332"/>
                    </a:cubicBezTo>
                    <a:cubicBezTo>
                      <a:pt x="135731" y="56858"/>
                      <a:pt x="142018" y="90101"/>
                      <a:pt x="136017" y="104102"/>
                    </a:cubicBezTo>
                    <a:lnTo>
                      <a:pt x="132398" y="114294"/>
                    </a:lnTo>
                    <a:lnTo>
                      <a:pt x="101060" y="130868"/>
                    </a:lnTo>
                    <a:cubicBezTo>
                      <a:pt x="101060" y="130868"/>
                      <a:pt x="86487" y="118676"/>
                      <a:pt x="91059" y="83243"/>
                    </a:cubicBezTo>
                    <a:cubicBezTo>
                      <a:pt x="90850" y="78423"/>
                      <a:pt x="89335" y="73746"/>
                      <a:pt x="86678" y="69717"/>
                    </a:cubicBezTo>
                    <a:cubicBezTo>
                      <a:pt x="84687" y="66364"/>
                      <a:pt x="83211" y="62735"/>
                      <a:pt x="82296" y="58954"/>
                    </a:cubicBezTo>
                    <a:cubicBezTo>
                      <a:pt x="78591" y="49353"/>
                      <a:pt x="71371" y="41514"/>
                      <a:pt x="62103" y="37046"/>
                    </a:cubicBezTo>
                    <a:cubicBezTo>
                      <a:pt x="38767" y="23997"/>
                      <a:pt x="4953" y="35237"/>
                      <a:pt x="0" y="39999"/>
                    </a:cubicBezTo>
                    <a:cubicBezTo>
                      <a:pt x="13221" y="10548"/>
                      <a:pt x="45396" y="-5483"/>
                      <a:pt x="76867" y="1709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12"/>
              <p:cNvSpPr/>
              <p:nvPr/>
            </p:nvSpPr>
            <p:spPr>
              <a:xfrm>
                <a:off x="5898276" y="1323720"/>
                <a:ext cx="74471" cy="246223"/>
              </a:xfrm>
              <a:custGeom>
                <a:avLst/>
                <a:gdLst/>
                <a:ahLst/>
                <a:cxnLst/>
                <a:rect l="l" t="t" r="r" b="b"/>
                <a:pathLst>
                  <a:path w="93089" h="307779" extrusionOk="0">
                    <a:moveTo>
                      <a:pt x="39367" y="248524"/>
                    </a:moveTo>
                    <a:cubicBezTo>
                      <a:pt x="45177" y="212329"/>
                      <a:pt x="56036" y="188898"/>
                      <a:pt x="50988" y="168990"/>
                    </a:cubicBezTo>
                    <a:cubicBezTo>
                      <a:pt x="39739" y="128738"/>
                      <a:pt x="25013" y="89542"/>
                      <a:pt x="6982" y="51833"/>
                    </a:cubicBezTo>
                    <a:cubicBezTo>
                      <a:pt x="-4448" y="29354"/>
                      <a:pt x="-924" y="13733"/>
                      <a:pt x="10887" y="4779"/>
                    </a:cubicBezTo>
                    <a:cubicBezTo>
                      <a:pt x="24222" y="-4746"/>
                      <a:pt x="36891" y="-840"/>
                      <a:pt x="48987" y="23829"/>
                    </a:cubicBezTo>
                    <a:cubicBezTo>
                      <a:pt x="64132" y="55167"/>
                      <a:pt x="81086" y="87361"/>
                      <a:pt x="89373" y="134034"/>
                    </a:cubicBezTo>
                    <a:cubicBezTo>
                      <a:pt x="94688" y="164228"/>
                      <a:pt x="94298" y="195136"/>
                      <a:pt x="88230" y="225188"/>
                    </a:cubicBezTo>
                    <a:cubicBezTo>
                      <a:pt x="83087" y="257668"/>
                      <a:pt x="72800" y="275956"/>
                      <a:pt x="60513" y="306436"/>
                    </a:cubicBezTo>
                    <a:cubicBezTo>
                      <a:pt x="57084" y="315199"/>
                      <a:pt x="34414" y="279385"/>
                      <a:pt x="39367" y="24852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13;p12"/>
              <p:cNvSpPr/>
              <p:nvPr/>
            </p:nvSpPr>
            <p:spPr>
              <a:xfrm>
                <a:off x="5831068" y="2061801"/>
                <a:ext cx="86995" cy="66513"/>
              </a:xfrm>
              <a:custGeom>
                <a:avLst/>
                <a:gdLst/>
                <a:ahLst/>
                <a:cxnLst/>
                <a:rect l="l" t="t" r="r" b="b"/>
                <a:pathLst>
                  <a:path w="108744" h="83141" extrusionOk="0">
                    <a:moveTo>
                      <a:pt x="100855" y="2"/>
                    </a:moveTo>
                    <a:cubicBezTo>
                      <a:pt x="87806" y="10575"/>
                      <a:pt x="67423" y="3241"/>
                      <a:pt x="66470" y="4194"/>
                    </a:cubicBezTo>
                    <a:cubicBezTo>
                      <a:pt x="51297" y="17281"/>
                      <a:pt x="35400" y="29492"/>
                      <a:pt x="18845" y="40769"/>
                    </a:cubicBezTo>
                    <a:cubicBezTo>
                      <a:pt x="10654" y="47151"/>
                      <a:pt x="-2014" y="55724"/>
                      <a:pt x="271" y="68106"/>
                    </a:cubicBezTo>
                    <a:cubicBezTo>
                      <a:pt x="4367" y="90109"/>
                      <a:pt x="39610" y="83346"/>
                      <a:pt x="52945" y="76584"/>
                    </a:cubicBezTo>
                    <a:cubicBezTo>
                      <a:pt x="66280" y="69821"/>
                      <a:pt x="77043" y="58677"/>
                      <a:pt x="89616" y="50866"/>
                    </a:cubicBezTo>
                    <a:cubicBezTo>
                      <a:pt x="98665" y="45246"/>
                      <a:pt x="107428" y="42389"/>
                      <a:pt x="108666" y="31054"/>
                    </a:cubicBezTo>
                    <a:cubicBezTo>
                      <a:pt x="109523" y="24196"/>
                      <a:pt x="103142" y="-283"/>
                      <a:pt x="100855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14;p12"/>
              <p:cNvSpPr/>
              <p:nvPr/>
            </p:nvSpPr>
            <p:spPr>
              <a:xfrm>
                <a:off x="5831514" y="2082973"/>
                <a:ext cx="86563" cy="44990"/>
              </a:xfrm>
              <a:custGeom>
                <a:avLst/>
                <a:gdLst/>
                <a:ahLst/>
                <a:cxnLst/>
                <a:rect l="l" t="t" r="r" b="b"/>
                <a:pathLst>
                  <a:path w="108204" h="56238" extrusionOk="0">
                    <a:moveTo>
                      <a:pt x="107918" y="0"/>
                    </a:moveTo>
                    <a:cubicBezTo>
                      <a:pt x="106204" y="10859"/>
                      <a:pt x="97536" y="13907"/>
                      <a:pt x="88868" y="19050"/>
                    </a:cubicBezTo>
                    <a:cubicBezTo>
                      <a:pt x="76105" y="26956"/>
                      <a:pt x="64865" y="38100"/>
                      <a:pt x="51530" y="45149"/>
                    </a:cubicBezTo>
                    <a:cubicBezTo>
                      <a:pt x="38195" y="52197"/>
                      <a:pt x="8573" y="57531"/>
                      <a:pt x="0" y="41815"/>
                    </a:cubicBezTo>
                    <a:cubicBezTo>
                      <a:pt x="4667" y="63056"/>
                      <a:pt x="39338" y="56388"/>
                      <a:pt x="52483" y="49721"/>
                    </a:cubicBezTo>
                    <a:cubicBezTo>
                      <a:pt x="65627" y="43053"/>
                      <a:pt x="76581" y="31814"/>
                      <a:pt x="89154" y="24003"/>
                    </a:cubicBezTo>
                    <a:cubicBezTo>
                      <a:pt x="98203" y="18383"/>
                      <a:pt x="106966" y="15526"/>
                      <a:pt x="108204" y="4191"/>
                    </a:cubicBezTo>
                    <a:cubicBezTo>
                      <a:pt x="108214" y="2791"/>
                      <a:pt x="108118" y="1391"/>
                      <a:pt x="107918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15;p12"/>
              <p:cNvSpPr/>
              <p:nvPr/>
            </p:nvSpPr>
            <p:spPr>
              <a:xfrm>
                <a:off x="5764925" y="2047104"/>
                <a:ext cx="79862" cy="61873"/>
              </a:xfrm>
              <a:custGeom>
                <a:avLst/>
                <a:gdLst/>
                <a:ahLst/>
                <a:cxnLst/>
                <a:rect l="l" t="t" r="r" b="b"/>
                <a:pathLst>
                  <a:path w="99827" h="77341" extrusionOk="0">
                    <a:moveTo>
                      <a:pt x="91860" y="1"/>
                    </a:moveTo>
                    <a:cubicBezTo>
                      <a:pt x="79954" y="9526"/>
                      <a:pt x="61856" y="4288"/>
                      <a:pt x="60999" y="5240"/>
                    </a:cubicBezTo>
                    <a:cubicBezTo>
                      <a:pt x="47045" y="17146"/>
                      <a:pt x="32453" y="28281"/>
                      <a:pt x="17279" y="38578"/>
                    </a:cubicBezTo>
                    <a:cubicBezTo>
                      <a:pt x="9754" y="44388"/>
                      <a:pt x="-1771" y="52294"/>
                      <a:pt x="229" y="63533"/>
                    </a:cubicBezTo>
                    <a:cubicBezTo>
                      <a:pt x="4040" y="83726"/>
                      <a:pt x="36329" y="77535"/>
                      <a:pt x="48521" y="71344"/>
                    </a:cubicBezTo>
                    <a:cubicBezTo>
                      <a:pt x="60713" y="65152"/>
                      <a:pt x="70619" y="54961"/>
                      <a:pt x="82145" y="47817"/>
                    </a:cubicBezTo>
                    <a:cubicBezTo>
                      <a:pt x="90336" y="42673"/>
                      <a:pt x="98433" y="40006"/>
                      <a:pt x="99766" y="29624"/>
                    </a:cubicBezTo>
                    <a:cubicBezTo>
                      <a:pt x="100528" y="23338"/>
                      <a:pt x="94051" y="-189"/>
                      <a:pt x="91860" y="1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16;p12"/>
              <p:cNvSpPr/>
              <p:nvPr/>
            </p:nvSpPr>
            <p:spPr>
              <a:xfrm>
                <a:off x="5764880" y="2067438"/>
                <a:ext cx="79629" cy="41383"/>
              </a:xfrm>
              <a:custGeom>
                <a:avLst/>
                <a:gdLst/>
                <a:ahLst/>
                <a:cxnLst/>
                <a:rect l="l" t="t" r="r" b="b"/>
                <a:pathLst>
                  <a:path w="99536" h="51729" extrusionOk="0">
                    <a:moveTo>
                      <a:pt x="99536" y="0"/>
                    </a:moveTo>
                    <a:cubicBezTo>
                      <a:pt x="97917" y="10001"/>
                      <a:pt x="90011" y="12668"/>
                      <a:pt x="81820" y="17812"/>
                    </a:cubicBezTo>
                    <a:cubicBezTo>
                      <a:pt x="70104" y="25051"/>
                      <a:pt x="59817" y="35528"/>
                      <a:pt x="47625" y="41720"/>
                    </a:cubicBezTo>
                    <a:cubicBezTo>
                      <a:pt x="35433" y="47911"/>
                      <a:pt x="8287" y="53054"/>
                      <a:pt x="0" y="38671"/>
                    </a:cubicBezTo>
                    <a:cubicBezTo>
                      <a:pt x="4286" y="57721"/>
                      <a:pt x="36004" y="52006"/>
                      <a:pt x="47625" y="45911"/>
                    </a:cubicBezTo>
                    <a:cubicBezTo>
                      <a:pt x="59246" y="39814"/>
                      <a:pt x="69723" y="29528"/>
                      <a:pt x="81248" y="22384"/>
                    </a:cubicBezTo>
                    <a:cubicBezTo>
                      <a:pt x="89440" y="17240"/>
                      <a:pt x="97536" y="14573"/>
                      <a:pt x="98870" y="4191"/>
                    </a:cubicBezTo>
                    <a:cubicBezTo>
                      <a:pt x="99222" y="2819"/>
                      <a:pt x="99441" y="1419"/>
                      <a:pt x="9953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17;p12"/>
              <p:cNvSpPr/>
              <p:nvPr/>
            </p:nvSpPr>
            <p:spPr>
              <a:xfrm>
                <a:off x="5777722" y="1472916"/>
                <a:ext cx="170454" cy="595560"/>
              </a:xfrm>
              <a:custGeom>
                <a:avLst/>
                <a:gdLst/>
                <a:ahLst/>
                <a:cxnLst/>
                <a:rect l="l" t="t" r="r" b="b"/>
                <a:pathLst>
                  <a:path w="213068" h="744450" extrusionOk="0">
                    <a:moveTo>
                      <a:pt x="5465" y="110490"/>
                    </a:moveTo>
                    <a:cubicBezTo>
                      <a:pt x="11276" y="65437"/>
                      <a:pt x="27849" y="0"/>
                      <a:pt x="27849" y="0"/>
                    </a:cubicBezTo>
                    <a:cubicBezTo>
                      <a:pt x="43546" y="7372"/>
                      <a:pt x="60529" y="11611"/>
                      <a:pt x="77855" y="12478"/>
                    </a:cubicBezTo>
                    <a:cubicBezTo>
                      <a:pt x="103211" y="12316"/>
                      <a:pt x="128490" y="9830"/>
                      <a:pt x="153388" y="5048"/>
                    </a:cubicBezTo>
                    <a:cubicBezTo>
                      <a:pt x="161532" y="19269"/>
                      <a:pt x="170429" y="33033"/>
                      <a:pt x="180059" y="46291"/>
                    </a:cubicBezTo>
                    <a:cubicBezTo>
                      <a:pt x="193012" y="64294"/>
                      <a:pt x="218159" y="103441"/>
                      <a:pt x="212158" y="172879"/>
                    </a:cubicBezTo>
                    <a:cubicBezTo>
                      <a:pt x="208253" y="217932"/>
                      <a:pt x="182916" y="409480"/>
                      <a:pt x="182916" y="409480"/>
                    </a:cubicBezTo>
                    <a:cubicBezTo>
                      <a:pt x="192755" y="441693"/>
                      <a:pt x="197985" y="475145"/>
                      <a:pt x="198442" y="508826"/>
                    </a:cubicBezTo>
                    <a:cubicBezTo>
                      <a:pt x="196156" y="548821"/>
                      <a:pt x="190869" y="588588"/>
                      <a:pt x="182630" y="627793"/>
                    </a:cubicBezTo>
                    <a:lnTo>
                      <a:pt x="167581" y="736568"/>
                    </a:lnTo>
                    <a:cubicBezTo>
                      <a:pt x="167581" y="736568"/>
                      <a:pt x="147483" y="751046"/>
                      <a:pt x="133195" y="740759"/>
                    </a:cubicBezTo>
                    <a:lnTo>
                      <a:pt x="135005" y="634365"/>
                    </a:lnTo>
                    <a:cubicBezTo>
                      <a:pt x="133291" y="608362"/>
                      <a:pt x="130719" y="569976"/>
                      <a:pt x="129004" y="545402"/>
                    </a:cubicBezTo>
                    <a:cubicBezTo>
                      <a:pt x="126337" y="505492"/>
                      <a:pt x="119479" y="442055"/>
                      <a:pt x="117098" y="426148"/>
                    </a:cubicBezTo>
                    <a:cubicBezTo>
                      <a:pt x="114717" y="410242"/>
                      <a:pt x="109954" y="382619"/>
                      <a:pt x="107573" y="351568"/>
                    </a:cubicBezTo>
                    <a:cubicBezTo>
                      <a:pt x="105192" y="320516"/>
                      <a:pt x="93476" y="162973"/>
                      <a:pt x="93476" y="162973"/>
                    </a:cubicBezTo>
                    <a:lnTo>
                      <a:pt x="91857" y="192500"/>
                    </a:lnTo>
                    <a:cubicBezTo>
                      <a:pt x="91857" y="192500"/>
                      <a:pt x="90238" y="240125"/>
                      <a:pt x="83380" y="299561"/>
                    </a:cubicBezTo>
                    <a:cubicBezTo>
                      <a:pt x="76522" y="358997"/>
                      <a:pt x="73855" y="385286"/>
                      <a:pt x="73855" y="385286"/>
                    </a:cubicBezTo>
                    <a:cubicBezTo>
                      <a:pt x="80370" y="397183"/>
                      <a:pt x="84932" y="410042"/>
                      <a:pt x="87380" y="423386"/>
                    </a:cubicBezTo>
                    <a:cubicBezTo>
                      <a:pt x="88619" y="436150"/>
                      <a:pt x="103192" y="537686"/>
                      <a:pt x="94429" y="588740"/>
                    </a:cubicBezTo>
                    <a:lnTo>
                      <a:pt x="76712" y="719138"/>
                    </a:lnTo>
                    <a:cubicBezTo>
                      <a:pt x="67645" y="725376"/>
                      <a:pt x="56138" y="726900"/>
                      <a:pt x="45756" y="723233"/>
                    </a:cubicBezTo>
                    <a:lnTo>
                      <a:pt x="35183" y="591407"/>
                    </a:lnTo>
                    <a:cubicBezTo>
                      <a:pt x="28135" y="541211"/>
                      <a:pt x="13180" y="434912"/>
                      <a:pt x="10895" y="421100"/>
                    </a:cubicBezTo>
                    <a:cubicBezTo>
                      <a:pt x="5808" y="393268"/>
                      <a:pt x="2817" y="365084"/>
                      <a:pt x="1941" y="336804"/>
                    </a:cubicBezTo>
                    <a:cubicBezTo>
                      <a:pt x="-1583" y="279749"/>
                      <a:pt x="-250" y="155543"/>
                      <a:pt x="5465" y="11049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18;p12"/>
              <p:cNvSpPr/>
              <p:nvPr/>
            </p:nvSpPr>
            <p:spPr>
              <a:xfrm>
                <a:off x="5770564" y="1458904"/>
                <a:ext cx="181538" cy="396087"/>
              </a:xfrm>
              <a:custGeom>
                <a:avLst/>
                <a:gdLst/>
                <a:ahLst/>
                <a:cxnLst/>
                <a:rect l="l" t="t" r="r" b="b"/>
                <a:pathLst>
                  <a:path w="226922" h="495109" extrusionOk="0">
                    <a:moveTo>
                      <a:pt x="162435" y="6001"/>
                    </a:moveTo>
                    <a:lnTo>
                      <a:pt x="201202" y="83915"/>
                    </a:lnTo>
                    <a:cubicBezTo>
                      <a:pt x="201202" y="83915"/>
                      <a:pt x="260447" y="170593"/>
                      <a:pt x="199106" y="393287"/>
                    </a:cubicBezTo>
                    <a:lnTo>
                      <a:pt x="210631" y="461963"/>
                    </a:lnTo>
                    <a:cubicBezTo>
                      <a:pt x="210631" y="461963"/>
                      <a:pt x="94522" y="536543"/>
                      <a:pt x="16798" y="461963"/>
                    </a:cubicBezTo>
                    <a:cubicBezTo>
                      <a:pt x="16798" y="461963"/>
                      <a:pt x="-10158" y="256127"/>
                      <a:pt x="4224" y="161258"/>
                    </a:cubicBezTo>
                    <a:cubicBezTo>
                      <a:pt x="12149" y="106661"/>
                      <a:pt x="24246" y="52749"/>
                      <a:pt x="40420" y="0"/>
                    </a:cubicBezTo>
                    <a:cubicBezTo>
                      <a:pt x="40420" y="0"/>
                      <a:pt x="59470" y="21050"/>
                      <a:pt x="157291" y="7144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12"/>
              <p:cNvSpPr/>
              <p:nvPr/>
            </p:nvSpPr>
            <p:spPr>
              <a:xfrm>
                <a:off x="5895126" y="1321170"/>
                <a:ext cx="61010" cy="76023"/>
              </a:xfrm>
              <a:custGeom>
                <a:avLst/>
                <a:gdLst/>
                <a:ahLst/>
                <a:cxnLst/>
                <a:rect l="l" t="t" r="r" b="b"/>
                <a:pathLst>
                  <a:path w="76263" h="95029" extrusionOk="0">
                    <a:moveTo>
                      <a:pt x="76263" y="71216"/>
                    </a:moveTo>
                    <a:cubicBezTo>
                      <a:pt x="76263" y="71216"/>
                      <a:pt x="49307" y="98076"/>
                      <a:pt x="17303" y="94743"/>
                    </a:cubicBezTo>
                    <a:lnTo>
                      <a:pt x="1968" y="42165"/>
                    </a:lnTo>
                    <a:cubicBezTo>
                      <a:pt x="1968" y="42165"/>
                      <a:pt x="-7557" y="14828"/>
                      <a:pt x="15303" y="2826"/>
                    </a:cubicBezTo>
                    <a:cubicBezTo>
                      <a:pt x="38163" y="-9175"/>
                      <a:pt x="62833" y="17685"/>
                      <a:pt x="76263" y="7121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220;p12"/>
              <p:cNvSpPr/>
              <p:nvPr/>
            </p:nvSpPr>
            <p:spPr>
              <a:xfrm>
                <a:off x="5777141" y="1300603"/>
                <a:ext cx="50825" cy="53396"/>
              </a:xfrm>
              <a:custGeom>
                <a:avLst/>
                <a:gdLst/>
                <a:ahLst/>
                <a:cxnLst/>
                <a:rect l="l" t="t" r="r" b="b"/>
                <a:pathLst>
                  <a:path w="63531" h="66745" extrusionOk="0">
                    <a:moveTo>
                      <a:pt x="63532" y="451"/>
                    </a:moveTo>
                    <a:cubicBezTo>
                      <a:pt x="63532" y="451"/>
                      <a:pt x="32671" y="-9074"/>
                      <a:pt x="0" y="59411"/>
                    </a:cubicBezTo>
                    <a:lnTo>
                      <a:pt x="12192" y="66745"/>
                    </a:lnTo>
                    <a:cubicBezTo>
                      <a:pt x="27499" y="43304"/>
                      <a:pt x="44663" y="21130"/>
                      <a:pt x="63532" y="451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21" name="Google Shape;221;p12"/>
            <p:cNvGrpSpPr/>
            <p:nvPr/>
          </p:nvGrpSpPr>
          <p:grpSpPr>
            <a:xfrm>
              <a:off x="5122427" y="3292365"/>
              <a:ext cx="823270" cy="1268939"/>
              <a:chOff x="5490177" y="3555452"/>
              <a:chExt cx="823270" cy="1268939"/>
            </a:xfrm>
          </p:grpSpPr>
          <p:sp>
            <p:nvSpPr>
              <p:cNvPr id="222" name="Google Shape;222;p12"/>
              <p:cNvSpPr/>
              <p:nvPr/>
            </p:nvSpPr>
            <p:spPr>
              <a:xfrm>
                <a:off x="5967652" y="4624747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7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7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223;p12"/>
              <p:cNvSpPr/>
              <p:nvPr/>
            </p:nvSpPr>
            <p:spPr>
              <a:xfrm>
                <a:off x="6225123" y="3957880"/>
                <a:ext cx="68002" cy="244678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12"/>
              <p:cNvSpPr/>
              <p:nvPr/>
            </p:nvSpPr>
            <p:spPr>
              <a:xfrm>
                <a:off x="6014262" y="4720102"/>
                <a:ext cx="99120" cy="56094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225;p12"/>
              <p:cNvSpPr/>
              <p:nvPr/>
            </p:nvSpPr>
            <p:spPr>
              <a:xfrm>
                <a:off x="6014165" y="4729456"/>
                <a:ext cx="97551" cy="46733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226;p12"/>
              <p:cNvSpPr/>
              <p:nvPr/>
            </p:nvSpPr>
            <p:spPr>
              <a:xfrm>
                <a:off x="6140412" y="4656810"/>
                <a:ext cx="95533" cy="53978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p12"/>
              <p:cNvSpPr/>
              <p:nvPr/>
            </p:nvSpPr>
            <p:spPr>
              <a:xfrm>
                <a:off x="6140448" y="4665717"/>
                <a:ext cx="93872" cy="45066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228;p12"/>
              <p:cNvSpPr/>
              <p:nvPr/>
            </p:nvSpPr>
            <p:spPr>
              <a:xfrm>
                <a:off x="6074259" y="4151308"/>
                <a:ext cx="190443" cy="586341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229;p12"/>
              <p:cNvSpPr/>
              <p:nvPr/>
            </p:nvSpPr>
            <p:spPr>
              <a:xfrm>
                <a:off x="6075072" y="4151308"/>
                <a:ext cx="189540" cy="327893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12"/>
              <p:cNvSpPr/>
              <p:nvPr/>
            </p:nvSpPr>
            <p:spPr>
              <a:xfrm>
                <a:off x="6112869" y="3797323"/>
                <a:ext cx="128417" cy="206862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231;p12"/>
              <p:cNvSpPr/>
              <p:nvPr/>
            </p:nvSpPr>
            <p:spPr>
              <a:xfrm>
                <a:off x="6244085" y="3981464"/>
                <a:ext cx="49073" cy="87044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232;p12"/>
              <p:cNvSpPr/>
              <p:nvPr/>
            </p:nvSpPr>
            <p:spPr>
              <a:xfrm>
                <a:off x="6106401" y="3956215"/>
                <a:ext cx="153237" cy="219092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233;p12"/>
              <p:cNvSpPr/>
              <p:nvPr/>
            </p:nvSpPr>
            <p:spPr>
              <a:xfrm>
                <a:off x="5856250" y="4001330"/>
                <a:ext cx="294998" cy="212364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12"/>
              <p:cNvSpPr/>
              <p:nvPr/>
            </p:nvSpPr>
            <p:spPr>
              <a:xfrm>
                <a:off x="6075027" y="3988967"/>
                <a:ext cx="80628" cy="83804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235;p12"/>
              <p:cNvSpPr/>
              <p:nvPr/>
            </p:nvSpPr>
            <p:spPr>
              <a:xfrm>
                <a:off x="6107459" y="3797280"/>
                <a:ext cx="160810" cy="262954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236;p12"/>
              <p:cNvSpPr/>
              <p:nvPr/>
            </p:nvSpPr>
            <p:spPr>
              <a:xfrm>
                <a:off x="5490177" y="438113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237;p12"/>
              <p:cNvSpPr/>
              <p:nvPr/>
            </p:nvSpPr>
            <p:spPr>
              <a:xfrm>
                <a:off x="5573749" y="4455840"/>
                <a:ext cx="98301" cy="76095"/>
              </a:xfrm>
              <a:custGeom>
                <a:avLst/>
                <a:gdLst/>
                <a:ahLst/>
                <a:cxnLst/>
                <a:rect l="l" t="t" r="r" b="b"/>
                <a:pathLst>
                  <a:path w="122876" h="95119" extrusionOk="0">
                    <a:moveTo>
                      <a:pt x="9769" y="2"/>
                    </a:moveTo>
                    <a:cubicBezTo>
                      <a:pt x="24533" y="12004"/>
                      <a:pt x="46250" y="1050"/>
                      <a:pt x="47297" y="2193"/>
                    </a:cubicBezTo>
                    <a:cubicBezTo>
                      <a:pt x="64639" y="18195"/>
                      <a:pt x="82792" y="33302"/>
                      <a:pt x="101685" y="47437"/>
                    </a:cubicBezTo>
                    <a:cubicBezTo>
                      <a:pt x="111210" y="54676"/>
                      <a:pt x="125212" y="64296"/>
                      <a:pt x="122545" y="78202"/>
                    </a:cubicBezTo>
                    <a:cubicBezTo>
                      <a:pt x="117973" y="102967"/>
                      <a:pt x="78254" y="95347"/>
                      <a:pt x="63204" y="87727"/>
                    </a:cubicBezTo>
                    <a:cubicBezTo>
                      <a:pt x="48155" y="80107"/>
                      <a:pt x="35963" y="67630"/>
                      <a:pt x="21770" y="59152"/>
                    </a:cubicBezTo>
                    <a:cubicBezTo>
                      <a:pt x="11674" y="52866"/>
                      <a:pt x="1768" y="49627"/>
                      <a:pt x="149" y="36864"/>
                    </a:cubicBezTo>
                    <a:cubicBezTo>
                      <a:pt x="-1185" y="28768"/>
                      <a:pt x="6816" y="-284"/>
                      <a:pt x="9769" y="2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" name="Google Shape;238;p12"/>
              <p:cNvSpPr/>
              <p:nvPr/>
            </p:nvSpPr>
            <p:spPr>
              <a:xfrm>
                <a:off x="5573762" y="4480895"/>
                <a:ext cx="97794" cy="51001"/>
              </a:xfrm>
              <a:custGeom>
                <a:avLst/>
                <a:gdLst/>
                <a:ahLst/>
                <a:cxnLst/>
                <a:rect l="l" t="t" r="r" b="b"/>
                <a:pathLst>
                  <a:path w="122242" h="63751" extrusionOk="0">
                    <a:moveTo>
                      <a:pt x="227" y="0"/>
                    </a:moveTo>
                    <a:cubicBezTo>
                      <a:pt x="2228" y="12192"/>
                      <a:pt x="12038" y="15621"/>
                      <a:pt x="22040" y="21812"/>
                    </a:cubicBezTo>
                    <a:cubicBezTo>
                      <a:pt x="36518" y="30766"/>
                      <a:pt x="49186" y="43720"/>
                      <a:pt x="64140" y="51245"/>
                    </a:cubicBezTo>
                    <a:cubicBezTo>
                      <a:pt x="79094" y="58769"/>
                      <a:pt x="112527" y="65246"/>
                      <a:pt x="122243" y="47530"/>
                    </a:cubicBezTo>
                    <a:cubicBezTo>
                      <a:pt x="117004" y="71438"/>
                      <a:pt x="77951" y="63913"/>
                      <a:pt x="63092" y="56388"/>
                    </a:cubicBezTo>
                    <a:cubicBezTo>
                      <a:pt x="48233" y="48863"/>
                      <a:pt x="35851" y="36290"/>
                      <a:pt x="21659" y="27813"/>
                    </a:cubicBezTo>
                    <a:cubicBezTo>
                      <a:pt x="11562" y="21527"/>
                      <a:pt x="1656" y="18288"/>
                      <a:pt x="37" y="5524"/>
                    </a:cubicBezTo>
                    <a:cubicBezTo>
                      <a:pt x="-49" y="3677"/>
                      <a:pt x="15" y="1829"/>
                      <a:pt x="227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239;p12"/>
              <p:cNvSpPr/>
              <p:nvPr/>
            </p:nvSpPr>
            <p:spPr>
              <a:xfrm>
                <a:off x="5674337" y="4417793"/>
                <a:ext cx="98217" cy="73323"/>
              </a:xfrm>
              <a:custGeom>
                <a:avLst/>
                <a:gdLst/>
                <a:ahLst/>
                <a:cxnLst/>
                <a:rect l="l" t="t" r="r" b="b"/>
                <a:pathLst>
                  <a:path w="122771" h="91654" extrusionOk="0">
                    <a:moveTo>
                      <a:pt x="11400" y="61"/>
                    </a:moveTo>
                    <a:cubicBezTo>
                      <a:pt x="26164" y="12062"/>
                      <a:pt x="51881" y="-987"/>
                      <a:pt x="53024" y="61"/>
                    </a:cubicBezTo>
                    <a:cubicBezTo>
                      <a:pt x="68334" y="15615"/>
                      <a:pt x="84521" y="30274"/>
                      <a:pt x="101507" y="43971"/>
                    </a:cubicBezTo>
                    <a:cubicBezTo>
                      <a:pt x="111032" y="51114"/>
                      <a:pt x="125033" y="60830"/>
                      <a:pt x="122462" y="74737"/>
                    </a:cubicBezTo>
                    <a:cubicBezTo>
                      <a:pt x="117794" y="99502"/>
                      <a:pt x="78075" y="91881"/>
                      <a:pt x="63121" y="84262"/>
                    </a:cubicBezTo>
                    <a:cubicBezTo>
                      <a:pt x="48167" y="76642"/>
                      <a:pt x="35879" y="64069"/>
                      <a:pt x="21687" y="55687"/>
                    </a:cubicBezTo>
                    <a:cubicBezTo>
                      <a:pt x="11591" y="49400"/>
                      <a:pt x="1589" y="46162"/>
                      <a:pt x="65" y="33398"/>
                    </a:cubicBezTo>
                    <a:cubicBezTo>
                      <a:pt x="-887" y="25302"/>
                      <a:pt x="8828" y="-225"/>
                      <a:pt x="11400" y="61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240;p12"/>
              <p:cNvSpPr/>
              <p:nvPr/>
            </p:nvSpPr>
            <p:spPr>
              <a:xfrm>
                <a:off x="5674522" y="4441449"/>
                <a:ext cx="97784" cy="51040"/>
              </a:xfrm>
              <a:custGeom>
                <a:avLst/>
                <a:gdLst/>
                <a:ahLst/>
                <a:cxnLst/>
                <a:rect l="l" t="t" r="r" b="b"/>
                <a:pathLst>
                  <a:path w="122230" h="63800" extrusionOk="0">
                    <a:moveTo>
                      <a:pt x="216" y="0"/>
                    </a:moveTo>
                    <a:cubicBezTo>
                      <a:pt x="2216" y="12192"/>
                      <a:pt x="12027" y="15621"/>
                      <a:pt x="22028" y="21812"/>
                    </a:cubicBezTo>
                    <a:cubicBezTo>
                      <a:pt x="36506" y="30766"/>
                      <a:pt x="49174" y="43720"/>
                      <a:pt x="64128" y="51340"/>
                    </a:cubicBezTo>
                    <a:cubicBezTo>
                      <a:pt x="79083" y="58960"/>
                      <a:pt x="112515" y="65246"/>
                      <a:pt x="122231" y="47530"/>
                    </a:cubicBezTo>
                    <a:cubicBezTo>
                      <a:pt x="116992" y="71438"/>
                      <a:pt x="77940" y="64008"/>
                      <a:pt x="63081" y="56483"/>
                    </a:cubicBezTo>
                    <a:cubicBezTo>
                      <a:pt x="48222" y="48958"/>
                      <a:pt x="35934" y="36290"/>
                      <a:pt x="21742" y="27432"/>
                    </a:cubicBezTo>
                    <a:cubicBezTo>
                      <a:pt x="11550" y="21146"/>
                      <a:pt x="1644" y="17907"/>
                      <a:pt x="25" y="5143"/>
                    </a:cubicBezTo>
                    <a:cubicBezTo>
                      <a:pt x="-41" y="3429"/>
                      <a:pt x="23" y="1705"/>
                      <a:pt x="21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241;p12"/>
              <p:cNvSpPr/>
              <p:nvPr/>
            </p:nvSpPr>
            <p:spPr>
              <a:xfrm>
                <a:off x="5578538" y="3979203"/>
                <a:ext cx="169290" cy="484803"/>
              </a:xfrm>
              <a:custGeom>
                <a:avLst/>
                <a:gdLst/>
                <a:ahLst/>
                <a:cxnLst/>
                <a:rect l="l" t="t" r="r" b="b"/>
                <a:pathLst>
                  <a:path w="211613" h="606004" extrusionOk="0">
                    <a:moveTo>
                      <a:pt x="2540" y="52483"/>
                    </a:moveTo>
                    <a:cubicBezTo>
                      <a:pt x="3302" y="74771"/>
                      <a:pt x="10160" y="171545"/>
                      <a:pt x="13303" y="222695"/>
                    </a:cubicBezTo>
                    <a:cubicBezTo>
                      <a:pt x="16446" y="273844"/>
                      <a:pt x="17113" y="336995"/>
                      <a:pt x="17113" y="336995"/>
                    </a:cubicBezTo>
                    <a:cubicBezTo>
                      <a:pt x="17113" y="336995"/>
                      <a:pt x="8255" y="374237"/>
                      <a:pt x="2540" y="418147"/>
                    </a:cubicBezTo>
                    <a:cubicBezTo>
                      <a:pt x="-3175" y="462058"/>
                      <a:pt x="2540" y="600361"/>
                      <a:pt x="2540" y="600361"/>
                    </a:cubicBezTo>
                    <a:cubicBezTo>
                      <a:pt x="14124" y="607886"/>
                      <a:pt x="29056" y="607886"/>
                      <a:pt x="40640" y="600361"/>
                    </a:cubicBezTo>
                    <a:cubicBezTo>
                      <a:pt x="40640" y="600361"/>
                      <a:pt x="64262" y="489585"/>
                      <a:pt x="75121" y="439674"/>
                    </a:cubicBezTo>
                    <a:cubicBezTo>
                      <a:pt x="85979" y="389763"/>
                      <a:pt x="87979" y="360997"/>
                      <a:pt x="93599" y="330137"/>
                    </a:cubicBezTo>
                    <a:cubicBezTo>
                      <a:pt x="100457" y="292703"/>
                      <a:pt x="115221" y="118110"/>
                      <a:pt x="115221" y="118110"/>
                    </a:cubicBezTo>
                    <a:lnTo>
                      <a:pt x="121126" y="118110"/>
                    </a:lnTo>
                    <a:lnTo>
                      <a:pt x="136938" y="315182"/>
                    </a:lnTo>
                    <a:cubicBezTo>
                      <a:pt x="132057" y="329717"/>
                      <a:pt x="128705" y="344719"/>
                      <a:pt x="126937" y="359950"/>
                    </a:cubicBezTo>
                    <a:cubicBezTo>
                      <a:pt x="122650" y="392049"/>
                      <a:pt x="131509" y="553593"/>
                      <a:pt x="131509" y="553593"/>
                    </a:cubicBezTo>
                    <a:cubicBezTo>
                      <a:pt x="144340" y="560727"/>
                      <a:pt x="160089" y="560070"/>
                      <a:pt x="172276" y="551879"/>
                    </a:cubicBezTo>
                    <a:cubicBezTo>
                      <a:pt x="172276" y="551879"/>
                      <a:pt x="211614" y="337947"/>
                      <a:pt x="211614" y="305467"/>
                    </a:cubicBezTo>
                    <a:cubicBezTo>
                      <a:pt x="211614" y="283845"/>
                      <a:pt x="207994" y="0"/>
                      <a:pt x="207994" y="0"/>
                    </a:cubicBezTo>
                    <a:close/>
                  </a:path>
                </a:pathLst>
              </a:custGeom>
              <a:solidFill>
                <a:srgbClr val="E2616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12"/>
              <p:cNvSpPr/>
              <p:nvPr/>
            </p:nvSpPr>
            <p:spPr>
              <a:xfrm>
                <a:off x="5601056" y="3677030"/>
                <a:ext cx="108255" cy="105706"/>
              </a:xfrm>
              <a:custGeom>
                <a:avLst/>
                <a:gdLst/>
                <a:ahLst/>
                <a:cxnLst/>
                <a:rect l="l" t="t" r="r" b="b"/>
                <a:pathLst>
                  <a:path w="135319" h="132132" extrusionOk="0">
                    <a:moveTo>
                      <a:pt x="27811" y="0"/>
                    </a:moveTo>
                    <a:cubicBezTo>
                      <a:pt x="27811" y="0"/>
                      <a:pt x="30287" y="48578"/>
                      <a:pt x="29239" y="52864"/>
                    </a:cubicBezTo>
                    <a:cubicBezTo>
                      <a:pt x="28192" y="57150"/>
                      <a:pt x="6951" y="71342"/>
                      <a:pt x="664" y="76486"/>
                    </a:cubicBezTo>
                    <a:cubicBezTo>
                      <a:pt x="-5622" y="81629"/>
                      <a:pt x="34288" y="120491"/>
                      <a:pt x="53623" y="130016"/>
                    </a:cubicBezTo>
                    <a:cubicBezTo>
                      <a:pt x="72959" y="139541"/>
                      <a:pt x="134205" y="115538"/>
                      <a:pt x="135253" y="85439"/>
                    </a:cubicBezTo>
                    <a:cubicBezTo>
                      <a:pt x="136300" y="55340"/>
                      <a:pt x="124775" y="30099"/>
                      <a:pt x="115441" y="28765"/>
                    </a:cubicBezTo>
                    <a:cubicBezTo>
                      <a:pt x="106106" y="27432"/>
                      <a:pt x="27811" y="0"/>
                      <a:pt x="27811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12"/>
              <p:cNvSpPr/>
              <p:nvPr/>
            </p:nvSpPr>
            <p:spPr>
              <a:xfrm>
                <a:off x="5726677" y="3702009"/>
                <a:ext cx="153814" cy="302133"/>
              </a:xfrm>
              <a:custGeom>
                <a:avLst/>
                <a:gdLst/>
                <a:ahLst/>
                <a:cxnLst/>
                <a:rect l="l" t="t" r="r" b="b"/>
                <a:pathLst>
                  <a:path w="192267" h="377666" extrusionOk="0">
                    <a:moveTo>
                      <a:pt x="3655" y="58864"/>
                    </a:moveTo>
                    <a:cubicBezTo>
                      <a:pt x="6513" y="37433"/>
                      <a:pt x="-7584" y="17050"/>
                      <a:pt x="6037" y="0"/>
                    </a:cubicBezTo>
                    <a:cubicBezTo>
                      <a:pt x="53662" y="47054"/>
                      <a:pt x="47947" y="171450"/>
                      <a:pt x="58805" y="250984"/>
                    </a:cubicBezTo>
                    <a:cubicBezTo>
                      <a:pt x="94429" y="288131"/>
                      <a:pt x="165961" y="324803"/>
                      <a:pt x="186059" y="333851"/>
                    </a:cubicBezTo>
                    <a:cubicBezTo>
                      <a:pt x="189679" y="335566"/>
                      <a:pt x="192917" y="337375"/>
                      <a:pt x="192155" y="341281"/>
                    </a:cubicBezTo>
                    <a:cubicBezTo>
                      <a:pt x="189461" y="354530"/>
                      <a:pt x="183757" y="366979"/>
                      <a:pt x="175486" y="377666"/>
                    </a:cubicBezTo>
                    <a:cubicBezTo>
                      <a:pt x="127861" y="357283"/>
                      <a:pt x="94048" y="345567"/>
                      <a:pt x="34897" y="289370"/>
                    </a:cubicBezTo>
                    <a:cubicBezTo>
                      <a:pt x="29295" y="283293"/>
                      <a:pt x="24287" y="276692"/>
                      <a:pt x="19943" y="269653"/>
                    </a:cubicBezTo>
                    <a:cubicBezTo>
                      <a:pt x="3084" y="218980"/>
                      <a:pt x="-1202" y="95821"/>
                      <a:pt x="3655" y="588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12"/>
              <p:cNvSpPr/>
              <p:nvPr/>
            </p:nvSpPr>
            <p:spPr>
              <a:xfrm>
                <a:off x="5572425" y="3691494"/>
                <a:ext cx="175494" cy="353954"/>
              </a:xfrm>
              <a:custGeom>
                <a:avLst/>
                <a:gdLst/>
                <a:ahLst/>
                <a:cxnLst/>
                <a:rect l="l" t="t" r="r" b="b"/>
                <a:pathLst>
                  <a:path w="219367" h="442443" extrusionOk="0">
                    <a:moveTo>
                      <a:pt x="58192" y="43155"/>
                    </a:moveTo>
                    <a:cubicBezTo>
                      <a:pt x="58192" y="43155"/>
                      <a:pt x="93434" y="95638"/>
                      <a:pt x="142583" y="100305"/>
                    </a:cubicBezTo>
                    <a:cubicBezTo>
                      <a:pt x="158109" y="85065"/>
                      <a:pt x="159443" y="30678"/>
                      <a:pt x="138011" y="13247"/>
                    </a:cubicBezTo>
                    <a:cubicBezTo>
                      <a:pt x="138011" y="13247"/>
                      <a:pt x="157728" y="-2660"/>
                      <a:pt x="171254" y="388"/>
                    </a:cubicBezTo>
                    <a:cubicBezTo>
                      <a:pt x="185905" y="9218"/>
                      <a:pt x="196816" y="23115"/>
                      <a:pt x="201924" y="39441"/>
                    </a:cubicBezTo>
                    <a:cubicBezTo>
                      <a:pt x="214382" y="75569"/>
                      <a:pt x="220254" y="113631"/>
                      <a:pt x="219260" y="151836"/>
                    </a:cubicBezTo>
                    <a:cubicBezTo>
                      <a:pt x="218402" y="203366"/>
                      <a:pt x="219260" y="360814"/>
                      <a:pt x="219260" y="360814"/>
                    </a:cubicBezTo>
                    <a:cubicBezTo>
                      <a:pt x="219260" y="360814"/>
                      <a:pt x="212402" y="394056"/>
                      <a:pt x="167920" y="418821"/>
                    </a:cubicBezTo>
                    <a:cubicBezTo>
                      <a:pt x="123438" y="443586"/>
                      <a:pt x="90386" y="446063"/>
                      <a:pt x="60192" y="439014"/>
                    </a:cubicBezTo>
                    <a:cubicBezTo>
                      <a:pt x="35332" y="433204"/>
                      <a:pt x="14758" y="424441"/>
                      <a:pt x="6185" y="406439"/>
                    </a:cubicBezTo>
                    <a:cubicBezTo>
                      <a:pt x="8471" y="370244"/>
                      <a:pt x="24569" y="276042"/>
                      <a:pt x="18568" y="230607"/>
                    </a:cubicBezTo>
                    <a:cubicBezTo>
                      <a:pt x="12567" y="185173"/>
                      <a:pt x="2947" y="151359"/>
                      <a:pt x="470" y="114593"/>
                    </a:cubicBezTo>
                    <a:cubicBezTo>
                      <a:pt x="-2006" y="77826"/>
                      <a:pt x="5233" y="78588"/>
                      <a:pt x="23711" y="65539"/>
                    </a:cubicBezTo>
                    <a:cubicBezTo>
                      <a:pt x="34645" y="57252"/>
                      <a:pt x="46169" y="49766"/>
                      <a:pt x="58192" y="4315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245;p12"/>
              <p:cNvSpPr/>
              <p:nvPr/>
            </p:nvSpPr>
            <p:spPr>
              <a:xfrm>
                <a:off x="5596900" y="3567776"/>
                <a:ext cx="116875" cy="142090"/>
              </a:xfrm>
              <a:custGeom>
                <a:avLst/>
                <a:gdLst/>
                <a:ahLst/>
                <a:cxnLst/>
                <a:rect l="l" t="t" r="r" b="b"/>
                <a:pathLst>
                  <a:path w="146094" h="177613" extrusionOk="0">
                    <a:moveTo>
                      <a:pt x="142737" y="64264"/>
                    </a:moveTo>
                    <a:lnTo>
                      <a:pt x="142737" y="64264"/>
                    </a:lnTo>
                    <a:cubicBezTo>
                      <a:pt x="136926" y="26164"/>
                      <a:pt x="109780" y="-2411"/>
                      <a:pt x="70823" y="161"/>
                    </a:cubicBezTo>
                    <a:cubicBezTo>
                      <a:pt x="29585" y="2342"/>
                      <a:pt x="-2076" y="37537"/>
                      <a:pt x="106" y="78780"/>
                    </a:cubicBezTo>
                    <a:cubicBezTo>
                      <a:pt x="1341" y="102107"/>
                      <a:pt x="13407" y="123519"/>
                      <a:pt x="32723" y="136654"/>
                    </a:cubicBezTo>
                    <a:cubicBezTo>
                      <a:pt x="34067" y="142360"/>
                      <a:pt x="36081" y="147894"/>
                      <a:pt x="38724" y="153132"/>
                    </a:cubicBezTo>
                    <a:cubicBezTo>
                      <a:pt x="52440" y="169230"/>
                      <a:pt x="94064" y="179136"/>
                      <a:pt x="105970" y="177421"/>
                    </a:cubicBezTo>
                    <a:cubicBezTo>
                      <a:pt x="120536" y="176269"/>
                      <a:pt x="132921" y="166334"/>
                      <a:pt x="137212" y="152370"/>
                    </a:cubicBezTo>
                    <a:cubicBezTo>
                      <a:pt x="150166" y="122462"/>
                      <a:pt x="146070" y="82838"/>
                      <a:pt x="142737" y="642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246;p12"/>
              <p:cNvSpPr/>
              <p:nvPr/>
            </p:nvSpPr>
            <p:spPr>
              <a:xfrm>
                <a:off x="5586117" y="3555452"/>
                <a:ext cx="123225" cy="121654"/>
              </a:xfrm>
              <a:custGeom>
                <a:avLst/>
                <a:gdLst/>
                <a:ahLst/>
                <a:cxnLst/>
                <a:rect l="l" t="t" r="r" b="b"/>
                <a:pathLst>
                  <a:path w="154031" h="152067" extrusionOk="0">
                    <a:moveTo>
                      <a:pt x="46496" y="152068"/>
                    </a:moveTo>
                    <a:lnTo>
                      <a:pt x="46496" y="152068"/>
                    </a:lnTo>
                    <a:lnTo>
                      <a:pt x="50021" y="119112"/>
                    </a:lnTo>
                    <a:cubicBezTo>
                      <a:pt x="50021" y="119112"/>
                      <a:pt x="22874" y="49579"/>
                      <a:pt x="86692" y="63009"/>
                    </a:cubicBezTo>
                    <a:cubicBezTo>
                      <a:pt x="128602" y="71867"/>
                      <a:pt x="139079" y="75677"/>
                      <a:pt x="151843" y="47579"/>
                    </a:cubicBezTo>
                    <a:cubicBezTo>
                      <a:pt x="164606" y="19480"/>
                      <a:pt x="119648" y="-5857"/>
                      <a:pt x="66118" y="1192"/>
                    </a:cubicBezTo>
                    <a:cubicBezTo>
                      <a:pt x="27984" y="5192"/>
                      <a:pt x="-739" y="37720"/>
                      <a:pt x="14" y="76058"/>
                    </a:cubicBezTo>
                    <a:cubicBezTo>
                      <a:pt x="1538" y="96632"/>
                      <a:pt x="7063" y="138542"/>
                      <a:pt x="46496" y="152068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247;p12"/>
              <p:cNvSpPr/>
              <p:nvPr/>
            </p:nvSpPr>
            <p:spPr>
              <a:xfrm>
                <a:off x="5563193" y="3761560"/>
                <a:ext cx="157578" cy="270890"/>
              </a:xfrm>
              <a:custGeom>
                <a:avLst/>
                <a:gdLst/>
                <a:ahLst/>
                <a:cxnLst/>
                <a:rect l="l" t="t" r="r" b="b"/>
                <a:pathLst>
                  <a:path w="196972" h="338613" extrusionOk="0">
                    <a:moveTo>
                      <a:pt x="780" y="5239"/>
                    </a:moveTo>
                    <a:cubicBezTo>
                      <a:pt x="19163" y="0"/>
                      <a:pt x="5161" y="4286"/>
                      <a:pt x="19163" y="0"/>
                    </a:cubicBezTo>
                    <a:cubicBezTo>
                      <a:pt x="66788" y="46958"/>
                      <a:pt x="61168" y="127540"/>
                      <a:pt x="72027" y="207073"/>
                    </a:cubicBezTo>
                    <a:cubicBezTo>
                      <a:pt x="98506" y="250984"/>
                      <a:pt x="196709" y="310039"/>
                      <a:pt x="196709" y="310039"/>
                    </a:cubicBezTo>
                    <a:cubicBezTo>
                      <a:pt x="197947" y="318516"/>
                      <a:pt x="194994" y="320992"/>
                      <a:pt x="184326" y="338614"/>
                    </a:cubicBezTo>
                    <a:cubicBezTo>
                      <a:pt x="129661" y="317649"/>
                      <a:pt x="79941" y="285579"/>
                      <a:pt x="38308" y="244411"/>
                    </a:cubicBezTo>
                    <a:cubicBezTo>
                      <a:pt x="35927" y="242221"/>
                      <a:pt x="32498" y="241554"/>
                      <a:pt x="31545" y="238601"/>
                    </a:cubicBezTo>
                    <a:cubicBezTo>
                      <a:pt x="14686" y="187547"/>
                      <a:pt x="-4078" y="42291"/>
                      <a:pt x="780" y="5239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12"/>
              <p:cNvSpPr/>
              <p:nvPr/>
            </p:nvSpPr>
            <p:spPr>
              <a:xfrm>
                <a:off x="5730894" y="3844261"/>
                <a:ext cx="182422" cy="245287"/>
              </a:xfrm>
              <a:custGeom>
                <a:avLst/>
                <a:gdLst/>
                <a:ahLst/>
                <a:cxnLst/>
                <a:rect l="l" t="t" r="r" b="b"/>
                <a:pathLst>
                  <a:path w="228028" h="306609" extrusionOk="0">
                    <a:moveTo>
                      <a:pt x="228028" y="0"/>
                    </a:moveTo>
                    <a:lnTo>
                      <a:pt x="156686" y="244030"/>
                    </a:lnTo>
                    <a:lnTo>
                      <a:pt x="0" y="306610"/>
                    </a:lnTo>
                    <a:lnTo>
                      <a:pt x="57150" y="68866"/>
                    </a:lnTo>
                    <a:lnTo>
                      <a:pt x="228028" y="0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249;p12"/>
              <p:cNvSpPr/>
              <p:nvPr/>
            </p:nvSpPr>
            <p:spPr>
              <a:xfrm>
                <a:off x="5699455" y="3997937"/>
                <a:ext cx="92794" cy="45581"/>
              </a:xfrm>
              <a:custGeom>
                <a:avLst/>
                <a:gdLst/>
                <a:ahLst/>
                <a:cxnLst/>
                <a:rect l="l" t="t" r="r" b="b"/>
                <a:pathLst>
                  <a:path w="115992" h="56976" extrusionOk="0">
                    <a:moveTo>
                      <a:pt x="1604" y="16383"/>
                    </a:moveTo>
                    <a:cubicBezTo>
                      <a:pt x="3890" y="8001"/>
                      <a:pt x="9891" y="10096"/>
                      <a:pt x="16749" y="12192"/>
                    </a:cubicBezTo>
                    <a:cubicBezTo>
                      <a:pt x="24087" y="15173"/>
                      <a:pt x="32154" y="15869"/>
                      <a:pt x="39895" y="14192"/>
                    </a:cubicBezTo>
                    <a:cubicBezTo>
                      <a:pt x="45919" y="11240"/>
                      <a:pt x="51497" y="7458"/>
                      <a:pt x="56468" y="2953"/>
                    </a:cubicBezTo>
                    <a:cubicBezTo>
                      <a:pt x="59631" y="1038"/>
                      <a:pt x="63251" y="19"/>
                      <a:pt x="66946" y="0"/>
                    </a:cubicBezTo>
                    <a:cubicBezTo>
                      <a:pt x="66946" y="2096"/>
                      <a:pt x="63326" y="14478"/>
                      <a:pt x="63326" y="14478"/>
                    </a:cubicBezTo>
                    <a:cubicBezTo>
                      <a:pt x="63326" y="14478"/>
                      <a:pt x="97712" y="14478"/>
                      <a:pt x="101426" y="14478"/>
                    </a:cubicBezTo>
                    <a:cubicBezTo>
                      <a:pt x="104583" y="13907"/>
                      <a:pt x="107609" y="15993"/>
                      <a:pt x="108184" y="19155"/>
                    </a:cubicBezTo>
                    <a:cubicBezTo>
                      <a:pt x="108501" y="20889"/>
                      <a:pt x="108012" y="22670"/>
                      <a:pt x="106856" y="24003"/>
                    </a:cubicBezTo>
                    <a:lnTo>
                      <a:pt x="109237" y="24003"/>
                    </a:lnTo>
                    <a:cubicBezTo>
                      <a:pt x="116190" y="22479"/>
                      <a:pt x="118762" y="33528"/>
                      <a:pt x="112190" y="34862"/>
                    </a:cubicBezTo>
                    <a:lnTo>
                      <a:pt x="106475" y="35719"/>
                    </a:lnTo>
                    <a:cubicBezTo>
                      <a:pt x="111047" y="37529"/>
                      <a:pt x="112190" y="45244"/>
                      <a:pt x="106475" y="46196"/>
                    </a:cubicBezTo>
                    <a:lnTo>
                      <a:pt x="104665" y="46196"/>
                    </a:lnTo>
                    <a:cubicBezTo>
                      <a:pt x="103845" y="46339"/>
                      <a:pt x="103009" y="46339"/>
                      <a:pt x="102188" y="46196"/>
                    </a:cubicBezTo>
                    <a:lnTo>
                      <a:pt x="100188" y="46196"/>
                    </a:lnTo>
                    <a:cubicBezTo>
                      <a:pt x="100896" y="49435"/>
                      <a:pt x="98845" y="52635"/>
                      <a:pt x="95608" y="53340"/>
                    </a:cubicBezTo>
                    <a:cubicBezTo>
                      <a:pt x="95421" y="53378"/>
                      <a:pt x="95233" y="53416"/>
                      <a:pt x="95045" y="53435"/>
                    </a:cubicBezTo>
                    <a:cubicBezTo>
                      <a:pt x="78281" y="55626"/>
                      <a:pt x="53611" y="62294"/>
                      <a:pt x="38466" y="48482"/>
                    </a:cubicBezTo>
                    <a:cubicBezTo>
                      <a:pt x="27950" y="47473"/>
                      <a:pt x="17678" y="44710"/>
                      <a:pt x="8081" y="40291"/>
                    </a:cubicBezTo>
                    <a:cubicBezTo>
                      <a:pt x="-967" y="35719"/>
                      <a:pt x="-1253" y="26289"/>
                      <a:pt x="1604" y="16383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250;p12"/>
              <p:cNvSpPr/>
              <p:nvPr/>
            </p:nvSpPr>
            <p:spPr>
              <a:xfrm>
                <a:off x="5833154" y="3969125"/>
                <a:ext cx="57182" cy="47279"/>
              </a:xfrm>
              <a:custGeom>
                <a:avLst/>
                <a:gdLst/>
                <a:ahLst/>
                <a:cxnLst/>
                <a:rect l="l" t="t" r="r" b="b"/>
                <a:pathLst>
                  <a:path w="71478" h="59099" extrusionOk="0">
                    <a:moveTo>
                      <a:pt x="5636" y="32418"/>
                    </a:moveTo>
                    <a:lnTo>
                      <a:pt x="8018" y="32418"/>
                    </a:lnTo>
                    <a:cubicBezTo>
                      <a:pt x="5440" y="30599"/>
                      <a:pt x="4827" y="27027"/>
                      <a:pt x="6648" y="24455"/>
                    </a:cubicBezTo>
                    <a:cubicBezTo>
                      <a:pt x="7726" y="22922"/>
                      <a:pt x="9482" y="22026"/>
                      <a:pt x="11351" y="22036"/>
                    </a:cubicBezTo>
                    <a:cubicBezTo>
                      <a:pt x="14876" y="22036"/>
                      <a:pt x="50213" y="14606"/>
                      <a:pt x="50213" y="14606"/>
                    </a:cubicBezTo>
                    <a:lnTo>
                      <a:pt x="54500" y="128"/>
                    </a:lnTo>
                    <a:cubicBezTo>
                      <a:pt x="54500" y="-729"/>
                      <a:pt x="60596" y="2986"/>
                      <a:pt x="60786" y="3176"/>
                    </a:cubicBezTo>
                    <a:cubicBezTo>
                      <a:pt x="66872" y="7091"/>
                      <a:pt x="70809" y="13597"/>
                      <a:pt x="71454" y="20798"/>
                    </a:cubicBezTo>
                    <a:cubicBezTo>
                      <a:pt x="71818" y="30903"/>
                      <a:pt x="68152" y="40733"/>
                      <a:pt x="61262" y="48134"/>
                    </a:cubicBezTo>
                    <a:cubicBezTo>
                      <a:pt x="54984" y="54364"/>
                      <a:pt x="46575" y="57974"/>
                      <a:pt x="37736" y="58231"/>
                    </a:cubicBezTo>
                    <a:cubicBezTo>
                      <a:pt x="33449" y="58231"/>
                      <a:pt x="29354" y="58707"/>
                      <a:pt x="25639" y="59088"/>
                    </a:cubicBezTo>
                    <a:cubicBezTo>
                      <a:pt x="22226" y="59298"/>
                      <a:pt x="19289" y="56707"/>
                      <a:pt x="19078" y="53287"/>
                    </a:cubicBezTo>
                    <a:cubicBezTo>
                      <a:pt x="19071" y="53192"/>
                      <a:pt x="19068" y="53087"/>
                      <a:pt x="19067" y="52992"/>
                    </a:cubicBezTo>
                    <a:lnTo>
                      <a:pt x="17924" y="52992"/>
                    </a:lnTo>
                    <a:cubicBezTo>
                      <a:pt x="17115" y="53221"/>
                      <a:pt x="16256" y="53221"/>
                      <a:pt x="15447" y="52992"/>
                    </a:cubicBezTo>
                    <a:lnTo>
                      <a:pt x="13637" y="52992"/>
                    </a:lnTo>
                    <a:cubicBezTo>
                      <a:pt x="7637" y="52992"/>
                      <a:pt x="7160" y="45562"/>
                      <a:pt x="11256" y="42895"/>
                    </a:cubicBezTo>
                    <a:lnTo>
                      <a:pt x="5446" y="42895"/>
                    </a:lnTo>
                    <a:cubicBezTo>
                      <a:pt x="-2174" y="43562"/>
                      <a:pt x="-1507" y="32323"/>
                      <a:pt x="5636" y="32418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251;p12"/>
              <p:cNvSpPr/>
              <p:nvPr/>
            </p:nvSpPr>
            <p:spPr>
              <a:xfrm>
                <a:off x="5709343" y="3692033"/>
                <a:ext cx="56693" cy="82524"/>
              </a:xfrm>
              <a:custGeom>
                <a:avLst/>
                <a:gdLst/>
                <a:ahLst/>
                <a:cxnLst/>
                <a:rect l="l" t="t" r="r" b="b"/>
                <a:pathLst>
                  <a:path w="70866" h="103155" extrusionOk="0">
                    <a:moveTo>
                      <a:pt x="45339" y="103156"/>
                    </a:moveTo>
                    <a:cubicBezTo>
                      <a:pt x="54990" y="102718"/>
                      <a:pt x="64114" y="98631"/>
                      <a:pt x="70866" y="91726"/>
                    </a:cubicBezTo>
                    <a:cubicBezTo>
                      <a:pt x="69533" y="73628"/>
                      <a:pt x="46482" y="5143"/>
                      <a:pt x="0" y="0"/>
                    </a:cubicBezTo>
                    <a:cubicBezTo>
                      <a:pt x="12463" y="8944"/>
                      <a:pt x="22324" y="21041"/>
                      <a:pt x="28575" y="35052"/>
                    </a:cubicBezTo>
                    <a:cubicBezTo>
                      <a:pt x="35880" y="57293"/>
                      <a:pt x="41484" y="80067"/>
                      <a:pt x="45339" y="1031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252;p12"/>
              <p:cNvSpPr/>
              <p:nvPr/>
            </p:nvSpPr>
            <p:spPr>
              <a:xfrm>
                <a:off x="5551668" y="3748041"/>
                <a:ext cx="68780" cy="102654"/>
              </a:xfrm>
              <a:custGeom>
                <a:avLst/>
                <a:gdLst/>
                <a:ahLst/>
                <a:cxnLst/>
                <a:rect l="l" t="t" r="r" b="b"/>
                <a:pathLst>
                  <a:path w="85975" h="128318" extrusionOk="0">
                    <a:moveTo>
                      <a:pt x="6812" y="123589"/>
                    </a:moveTo>
                    <a:cubicBezTo>
                      <a:pt x="6812" y="123589"/>
                      <a:pt x="53008" y="139590"/>
                      <a:pt x="85584" y="112730"/>
                    </a:cubicBezTo>
                    <a:cubicBezTo>
                      <a:pt x="89203" y="106634"/>
                      <a:pt x="66534" y="27957"/>
                      <a:pt x="66534" y="27957"/>
                    </a:cubicBezTo>
                    <a:cubicBezTo>
                      <a:pt x="66534" y="27957"/>
                      <a:pt x="47484" y="-12238"/>
                      <a:pt x="16813" y="3764"/>
                    </a:cubicBezTo>
                    <a:cubicBezTo>
                      <a:pt x="-13857" y="19766"/>
                      <a:pt x="6812" y="123589"/>
                      <a:pt x="6812" y="123589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53" name="Google Shape;253;p12"/>
            <p:cNvSpPr/>
            <p:nvPr/>
          </p:nvSpPr>
          <p:spPr>
            <a:xfrm>
              <a:off x="7297552" y="1119942"/>
              <a:ext cx="135609" cy="266405"/>
            </a:xfrm>
            <a:custGeom>
              <a:avLst/>
              <a:gdLst/>
              <a:ahLst/>
              <a:cxnLst/>
              <a:rect l="l" t="t" r="r" b="b"/>
              <a:pathLst>
                <a:path w="169617" h="333215" extrusionOk="0">
                  <a:moveTo>
                    <a:pt x="97114" y="257806"/>
                  </a:moveTo>
                  <a:cubicBezTo>
                    <a:pt x="82065" y="284512"/>
                    <a:pt x="63834" y="309299"/>
                    <a:pt x="42822" y="331624"/>
                  </a:cubicBezTo>
                  <a:cubicBezTo>
                    <a:pt x="36916" y="338482"/>
                    <a:pt x="-8137" y="321242"/>
                    <a:pt x="1293" y="316384"/>
                  </a:cubicBezTo>
                  <a:cubicBezTo>
                    <a:pt x="10722" y="311527"/>
                    <a:pt x="40250" y="270283"/>
                    <a:pt x="55109" y="242851"/>
                  </a:cubicBezTo>
                  <a:cubicBezTo>
                    <a:pt x="67549" y="210057"/>
                    <a:pt x="78074" y="176568"/>
                    <a:pt x="86637" y="142553"/>
                  </a:cubicBezTo>
                  <a:cubicBezTo>
                    <a:pt x="96162" y="108930"/>
                    <a:pt x="103972" y="59590"/>
                    <a:pt x="110735" y="36349"/>
                  </a:cubicBezTo>
                  <a:cubicBezTo>
                    <a:pt x="114326" y="18843"/>
                    <a:pt x="127870" y="5080"/>
                    <a:pt x="145311" y="1202"/>
                  </a:cubicBezTo>
                  <a:cubicBezTo>
                    <a:pt x="161503" y="-2513"/>
                    <a:pt x="172076" y="1869"/>
                    <a:pt x="169123" y="21586"/>
                  </a:cubicBezTo>
                  <a:cubicBezTo>
                    <a:pt x="163885" y="56066"/>
                    <a:pt x="136929" y="189988"/>
                    <a:pt x="97114" y="25780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7309787" y="1745656"/>
              <a:ext cx="93295" cy="72283"/>
            </a:xfrm>
            <a:custGeom>
              <a:avLst/>
              <a:gdLst/>
              <a:ahLst/>
              <a:cxnLst/>
              <a:rect l="l" t="t" r="r" b="b"/>
              <a:pathLst>
                <a:path w="116692" h="90410" extrusionOk="0">
                  <a:moveTo>
                    <a:pt x="107433" y="2"/>
                  </a:moveTo>
                  <a:cubicBezTo>
                    <a:pt x="93527" y="11337"/>
                    <a:pt x="72857" y="955"/>
                    <a:pt x="71810" y="2003"/>
                  </a:cubicBezTo>
                  <a:cubicBezTo>
                    <a:pt x="55417" y="17271"/>
                    <a:pt x="38177" y="31616"/>
                    <a:pt x="20184" y="44960"/>
                  </a:cubicBezTo>
                  <a:cubicBezTo>
                    <a:pt x="11421" y="51818"/>
                    <a:pt x="-2105" y="61057"/>
                    <a:pt x="277" y="74202"/>
                  </a:cubicBezTo>
                  <a:cubicBezTo>
                    <a:pt x="4753" y="97824"/>
                    <a:pt x="42472" y="90585"/>
                    <a:pt x="56665" y="83727"/>
                  </a:cubicBezTo>
                  <a:cubicBezTo>
                    <a:pt x="70857" y="76869"/>
                    <a:pt x="82573" y="64677"/>
                    <a:pt x="96003" y="56200"/>
                  </a:cubicBezTo>
                  <a:cubicBezTo>
                    <a:pt x="105528" y="50199"/>
                    <a:pt x="115053" y="47151"/>
                    <a:pt x="116577" y="34959"/>
                  </a:cubicBezTo>
                  <a:cubicBezTo>
                    <a:pt x="117720" y="27244"/>
                    <a:pt x="110100" y="-284"/>
                    <a:pt x="107433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7310617" y="1769417"/>
              <a:ext cx="92899" cy="48456"/>
            </a:xfrm>
            <a:custGeom>
              <a:avLst/>
              <a:gdLst/>
              <a:ahLst/>
              <a:cxnLst/>
              <a:rect l="l" t="t" r="r" b="b"/>
              <a:pathLst>
                <a:path w="116196" h="60608" extrusionOk="0">
                  <a:moveTo>
                    <a:pt x="115919" y="0"/>
                  </a:moveTo>
                  <a:cubicBezTo>
                    <a:pt x="114110" y="11621"/>
                    <a:pt x="104775" y="14764"/>
                    <a:pt x="95250" y="20765"/>
                  </a:cubicBezTo>
                  <a:cubicBezTo>
                    <a:pt x="81534" y="29242"/>
                    <a:pt x="69437" y="41529"/>
                    <a:pt x="55245" y="48673"/>
                  </a:cubicBezTo>
                  <a:cubicBezTo>
                    <a:pt x="41053" y="55817"/>
                    <a:pt x="9239" y="62008"/>
                    <a:pt x="0" y="45149"/>
                  </a:cubicBezTo>
                  <a:cubicBezTo>
                    <a:pt x="5048" y="67913"/>
                    <a:pt x="42101" y="60770"/>
                    <a:pt x="56198" y="53626"/>
                  </a:cubicBezTo>
                  <a:cubicBezTo>
                    <a:pt x="70295" y="46482"/>
                    <a:pt x="82106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272" y="3239"/>
                    <a:pt x="116205" y="160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12"/>
            <p:cNvSpPr/>
            <p:nvPr/>
          </p:nvSpPr>
          <p:spPr>
            <a:xfrm>
              <a:off x="7197828" y="1680648"/>
              <a:ext cx="93274" cy="69610"/>
            </a:xfrm>
            <a:custGeom>
              <a:avLst/>
              <a:gdLst/>
              <a:ahLst/>
              <a:cxnLst/>
              <a:rect l="l" t="t" r="r" b="b"/>
              <a:pathLst>
                <a:path w="116665" h="87067" extrusionOk="0">
                  <a:moveTo>
                    <a:pt x="105833" y="64"/>
                  </a:moveTo>
                  <a:cubicBezTo>
                    <a:pt x="91831" y="11398"/>
                    <a:pt x="67733" y="-984"/>
                    <a:pt x="66305" y="64"/>
                  </a:cubicBezTo>
                  <a:cubicBezTo>
                    <a:pt x="51722" y="14780"/>
                    <a:pt x="36329" y="28677"/>
                    <a:pt x="20204" y="41688"/>
                  </a:cubicBezTo>
                  <a:cubicBezTo>
                    <a:pt x="11440" y="48546"/>
                    <a:pt x="-2180" y="57690"/>
                    <a:pt x="296" y="70930"/>
                  </a:cubicBezTo>
                  <a:cubicBezTo>
                    <a:pt x="4678" y="94456"/>
                    <a:pt x="42492" y="87217"/>
                    <a:pt x="56684" y="80455"/>
                  </a:cubicBezTo>
                  <a:cubicBezTo>
                    <a:pt x="70876" y="73692"/>
                    <a:pt x="82592" y="61405"/>
                    <a:pt x="96022" y="52927"/>
                  </a:cubicBezTo>
                  <a:cubicBezTo>
                    <a:pt x="105547" y="47022"/>
                    <a:pt x="115072" y="43879"/>
                    <a:pt x="116597" y="31782"/>
                  </a:cubicBezTo>
                  <a:cubicBezTo>
                    <a:pt x="117549" y="23495"/>
                    <a:pt x="108310" y="-698"/>
                    <a:pt x="105833" y="6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12"/>
            <p:cNvSpPr/>
            <p:nvPr/>
          </p:nvSpPr>
          <p:spPr>
            <a:xfrm>
              <a:off x="7198064" y="1702707"/>
              <a:ext cx="92850" cy="48456"/>
            </a:xfrm>
            <a:custGeom>
              <a:avLst/>
              <a:gdLst/>
              <a:ahLst/>
              <a:cxnLst/>
              <a:rect l="l" t="t" r="r" b="b"/>
              <a:pathLst>
                <a:path w="116135" h="60608" extrusionOk="0">
                  <a:moveTo>
                    <a:pt x="115919" y="0"/>
                  </a:moveTo>
                  <a:cubicBezTo>
                    <a:pt x="114014" y="11621"/>
                    <a:pt x="104680" y="14764"/>
                    <a:pt x="95155" y="20765"/>
                  </a:cubicBezTo>
                  <a:cubicBezTo>
                    <a:pt x="81439" y="29242"/>
                    <a:pt x="69437" y="41529"/>
                    <a:pt x="55150" y="48673"/>
                  </a:cubicBezTo>
                  <a:cubicBezTo>
                    <a:pt x="40862" y="55817"/>
                    <a:pt x="9239" y="62008"/>
                    <a:pt x="0" y="45149"/>
                  </a:cubicBezTo>
                  <a:cubicBezTo>
                    <a:pt x="4953" y="67913"/>
                    <a:pt x="42101" y="60770"/>
                    <a:pt x="56198" y="53626"/>
                  </a:cubicBezTo>
                  <a:cubicBezTo>
                    <a:pt x="70295" y="46482"/>
                    <a:pt x="82010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177" y="3238"/>
                    <a:pt x="116110" y="161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12"/>
            <p:cNvSpPr/>
            <p:nvPr/>
          </p:nvSpPr>
          <p:spPr>
            <a:xfrm>
              <a:off x="7221254" y="1360384"/>
              <a:ext cx="326700" cy="394943"/>
            </a:xfrm>
            <a:custGeom>
              <a:avLst/>
              <a:gdLst/>
              <a:ahLst/>
              <a:cxnLst/>
              <a:rect l="l" t="t" r="r" b="b"/>
              <a:pathLst>
                <a:path w="408631" h="493987" extrusionOk="0">
                  <a:moveTo>
                    <a:pt x="405429" y="33455"/>
                  </a:moveTo>
                  <a:cubicBezTo>
                    <a:pt x="420955" y="130325"/>
                    <a:pt x="377902" y="166805"/>
                    <a:pt x="321990" y="187094"/>
                  </a:cubicBezTo>
                  <a:cubicBezTo>
                    <a:pt x="281890" y="201857"/>
                    <a:pt x="224264" y="224622"/>
                    <a:pt x="224264" y="224622"/>
                  </a:cubicBezTo>
                  <a:cubicBezTo>
                    <a:pt x="224264" y="224622"/>
                    <a:pt x="225121" y="245863"/>
                    <a:pt x="225502" y="293583"/>
                  </a:cubicBezTo>
                  <a:cubicBezTo>
                    <a:pt x="225978" y="335588"/>
                    <a:pt x="220359" y="489036"/>
                    <a:pt x="220359" y="489036"/>
                  </a:cubicBezTo>
                  <a:cubicBezTo>
                    <a:pt x="206862" y="495799"/>
                    <a:pt x="190936" y="495627"/>
                    <a:pt x="177591" y="488560"/>
                  </a:cubicBezTo>
                  <a:cubicBezTo>
                    <a:pt x="177591" y="488560"/>
                    <a:pt x="155017" y="371021"/>
                    <a:pt x="150255" y="318062"/>
                  </a:cubicBezTo>
                  <a:cubicBezTo>
                    <a:pt x="143778" y="246149"/>
                    <a:pt x="132729" y="199095"/>
                    <a:pt x="136348" y="183665"/>
                  </a:cubicBezTo>
                  <a:cubicBezTo>
                    <a:pt x="139587" y="170044"/>
                    <a:pt x="218168" y="131372"/>
                    <a:pt x="243123" y="110703"/>
                  </a:cubicBezTo>
                  <a:lnTo>
                    <a:pt x="78531" y="165853"/>
                  </a:lnTo>
                  <a:cubicBezTo>
                    <a:pt x="81789" y="183703"/>
                    <a:pt x="83380" y="201810"/>
                    <a:pt x="83294" y="219955"/>
                  </a:cubicBezTo>
                  <a:cubicBezTo>
                    <a:pt x="81770" y="277105"/>
                    <a:pt x="78627" y="400453"/>
                    <a:pt x="78627" y="400453"/>
                  </a:cubicBezTo>
                  <a:cubicBezTo>
                    <a:pt x="78627" y="400453"/>
                    <a:pt x="56053" y="416741"/>
                    <a:pt x="36812" y="400453"/>
                  </a:cubicBezTo>
                  <a:cubicBezTo>
                    <a:pt x="36812" y="400453"/>
                    <a:pt x="-4622" y="156137"/>
                    <a:pt x="427" y="124229"/>
                  </a:cubicBezTo>
                  <a:cubicBezTo>
                    <a:pt x="5189" y="93558"/>
                    <a:pt x="150255" y="30788"/>
                    <a:pt x="175782" y="9167"/>
                  </a:cubicBezTo>
                  <a:cubicBezTo>
                    <a:pt x="184802" y="1843"/>
                    <a:pt x="196499" y="-1308"/>
                    <a:pt x="207976" y="4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12"/>
            <p:cNvSpPr/>
            <p:nvPr/>
          </p:nvSpPr>
          <p:spPr>
            <a:xfrm>
              <a:off x="7417903" y="1095544"/>
              <a:ext cx="102781" cy="99997"/>
            </a:xfrm>
            <a:custGeom>
              <a:avLst/>
              <a:gdLst/>
              <a:ahLst/>
              <a:cxnLst/>
              <a:rect l="l" t="t" r="r" b="b"/>
              <a:pathLst>
                <a:path w="128556" h="125075" extrusionOk="0">
                  <a:moveTo>
                    <a:pt x="102220" y="0"/>
                  </a:moveTo>
                  <a:cubicBezTo>
                    <a:pt x="102220" y="0"/>
                    <a:pt x="99838" y="46196"/>
                    <a:pt x="100886" y="50292"/>
                  </a:cubicBezTo>
                  <a:cubicBezTo>
                    <a:pt x="101934" y="54388"/>
                    <a:pt x="122032" y="67913"/>
                    <a:pt x="127937" y="72676"/>
                  </a:cubicBezTo>
                  <a:cubicBezTo>
                    <a:pt x="133843" y="77438"/>
                    <a:pt x="96029" y="114776"/>
                    <a:pt x="77645" y="123253"/>
                  </a:cubicBezTo>
                  <a:cubicBezTo>
                    <a:pt x="59262" y="131731"/>
                    <a:pt x="1445" y="109442"/>
                    <a:pt x="112" y="80867"/>
                  </a:cubicBezTo>
                  <a:cubicBezTo>
                    <a:pt x="-1222" y="52292"/>
                    <a:pt x="9637" y="28289"/>
                    <a:pt x="19162" y="27051"/>
                  </a:cubicBezTo>
                  <a:cubicBezTo>
                    <a:pt x="28687" y="25813"/>
                    <a:pt x="102220" y="0"/>
                    <a:pt x="10222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12"/>
            <p:cNvSpPr/>
            <p:nvPr/>
          </p:nvSpPr>
          <p:spPr>
            <a:xfrm>
              <a:off x="7381720" y="1109556"/>
              <a:ext cx="166775" cy="325513"/>
            </a:xfrm>
            <a:custGeom>
              <a:avLst/>
              <a:gdLst/>
              <a:ahLst/>
              <a:cxnLst/>
              <a:rect l="l" t="t" r="r" b="b"/>
              <a:pathLst>
                <a:path w="208599" h="407146" extrusionOk="0">
                  <a:moveTo>
                    <a:pt x="152620" y="40673"/>
                  </a:moveTo>
                  <a:cubicBezTo>
                    <a:pt x="152620" y="40673"/>
                    <a:pt x="119187" y="90584"/>
                    <a:pt x="72419" y="95251"/>
                  </a:cubicBezTo>
                  <a:cubicBezTo>
                    <a:pt x="57751" y="80773"/>
                    <a:pt x="56417" y="28576"/>
                    <a:pt x="76801" y="12574"/>
                  </a:cubicBezTo>
                  <a:cubicBezTo>
                    <a:pt x="76801" y="12574"/>
                    <a:pt x="57751" y="-2571"/>
                    <a:pt x="45178" y="382"/>
                  </a:cubicBezTo>
                  <a:cubicBezTo>
                    <a:pt x="31481" y="8783"/>
                    <a:pt x="21327" y="21888"/>
                    <a:pt x="16603" y="37244"/>
                  </a:cubicBezTo>
                  <a:cubicBezTo>
                    <a:pt x="4658" y="71536"/>
                    <a:pt x="-923" y="107721"/>
                    <a:pt x="124" y="144019"/>
                  </a:cubicBezTo>
                  <a:cubicBezTo>
                    <a:pt x="886" y="192977"/>
                    <a:pt x="124" y="316707"/>
                    <a:pt x="124" y="316707"/>
                  </a:cubicBezTo>
                  <a:cubicBezTo>
                    <a:pt x="5620" y="346271"/>
                    <a:pt x="23556" y="372047"/>
                    <a:pt x="49369" y="387478"/>
                  </a:cubicBezTo>
                  <a:cubicBezTo>
                    <a:pt x="83068" y="406490"/>
                    <a:pt x="122740" y="411976"/>
                    <a:pt x="160335" y="402813"/>
                  </a:cubicBezTo>
                  <a:cubicBezTo>
                    <a:pt x="183957" y="397289"/>
                    <a:pt x="192720" y="383763"/>
                    <a:pt x="200911" y="366904"/>
                  </a:cubicBezTo>
                  <a:cubicBezTo>
                    <a:pt x="198816" y="332614"/>
                    <a:pt x="185195" y="262129"/>
                    <a:pt x="190910" y="218790"/>
                  </a:cubicBezTo>
                  <a:cubicBezTo>
                    <a:pt x="196625" y="175451"/>
                    <a:pt x="205769" y="143447"/>
                    <a:pt x="208150" y="108586"/>
                  </a:cubicBezTo>
                  <a:cubicBezTo>
                    <a:pt x="210532" y="73724"/>
                    <a:pt x="203483" y="74391"/>
                    <a:pt x="186052" y="62009"/>
                  </a:cubicBezTo>
                  <a:cubicBezTo>
                    <a:pt x="175442" y="54092"/>
                    <a:pt x="164269" y="46962"/>
                    <a:pt x="152620" y="4067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12"/>
            <p:cNvSpPr/>
            <p:nvPr/>
          </p:nvSpPr>
          <p:spPr>
            <a:xfrm>
              <a:off x="7413797" y="991818"/>
              <a:ext cx="110760" cy="134864"/>
            </a:xfrm>
            <a:custGeom>
              <a:avLst/>
              <a:gdLst/>
              <a:ahLst/>
              <a:cxnLst/>
              <a:rect l="l" t="t" r="r" b="b"/>
              <a:pathLst>
                <a:path w="138537" h="168686" extrusionOk="0">
                  <a:moveTo>
                    <a:pt x="2962" y="60969"/>
                  </a:moveTo>
                  <a:lnTo>
                    <a:pt x="2962" y="60969"/>
                  </a:lnTo>
                  <a:cubicBezTo>
                    <a:pt x="8486" y="25155"/>
                    <a:pt x="34204" y="-1896"/>
                    <a:pt x="71161" y="104"/>
                  </a:cubicBezTo>
                  <a:cubicBezTo>
                    <a:pt x="110299" y="2083"/>
                    <a:pt x="140427" y="35416"/>
                    <a:pt x="138445" y="74557"/>
                  </a:cubicBezTo>
                  <a:cubicBezTo>
                    <a:pt x="137321" y="96813"/>
                    <a:pt x="125806" y="117248"/>
                    <a:pt x="107356" y="129739"/>
                  </a:cubicBezTo>
                  <a:cubicBezTo>
                    <a:pt x="106032" y="135172"/>
                    <a:pt x="104117" y="140443"/>
                    <a:pt x="101641" y="145456"/>
                  </a:cubicBezTo>
                  <a:cubicBezTo>
                    <a:pt x="88592" y="160696"/>
                    <a:pt x="49063" y="170125"/>
                    <a:pt x="37728" y="168506"/>
                  </a:cubicBezTo>
                  <a:cubicBezTo>
                    <a:pt x="23907" y="167251"/>
                    <a:pt x="12249" y="157706"/>
                    <a:pt x="8296" y="144408"/>
                  </a:cubicBezTo>
                  <a:cubicBezTo>
                    <a:pt x="-3610" y="116309"/>
                    <a:pt x="-86" y="78685"/>
                    <a:pt x="2962" y="6096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12"/>
            <p:cNvSpPr/>
            <p:nvPr/>
          </p:nvSpPr>
          <p:spPr>
            <a:xfrm>
              <a:off x="7417935" y="980032"/>
              <a:ext cx="116886" cy="115512"/>
            </a:xfrm>
            <a:custGeom>
              <a:avLst/>
              <a:gdLst/>
              <a:ahLst/>
              <a:cxnLst/>
              <a:rect l="l" t="t" r="r" b="b"/>
              <a:pathLst>
                <a:path w="146199" h="144480" extrusionOk="0">
                  <a:moveTo>
                    <a:pt x="102179" y="144481"/>
                  </a:moveTo>
                  <a:lnTo>
                    <a:pt x="102179" y="144481"/>
                  </a:lnTo>
                  <a:lnTo>
                    <a:pt x="98750" y="113239"/>
                  </a:lnTo>
                  <a:cubicBezTo>
                    <a:pt x="98750" y="113239"/>
                    <a:pt x="124277" y="47135"/>
                    <a:pt x="63984" y="59899"/>
                  </a:cubicBezTo>
                  <a:cubicBezTo>
                    <a:pt x="24169" y="68281"/>
                    <a:pt x="14168" y="71900"/>
                    <a:pt x="2072" y="45135"/>
                  </a:cubicBezTo>
                  <a:cubicBezTo>
                    <a:pt x="-10025" y="18370"/>
                    <a:pt x="32647" y="-5538"/>
                    <a:pt x="83415" y="1129"/>
                  </a:cubicBezTo>
                  <a:cubicBezTo>
                    <a:pt x="119648" y="4934"/>
                    <a:pt x="146928" y="35857"/>
                    <a:pt x="146185" y="72281"/>
                  </a:cubicBezTo>
                  <a:cubicBezTo>
                    <a:pt x="144851" y="91903"/>
                    <a:pt x="139612" y="131717"/>
                    <a:pt x="102179" y="14448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12"/>
            <p:cNvSpPr/>
            <p:nvPr/>
          </p:nvSpPr>
          <p:spPr>
            <a:xfrm>
              <a:off x="7364000" y="1109861"/>
              <a:ext cx="53839" cy="78361"/>
            </a:xfrm>
            <a:custGeom>
              <a:avLst/>
              <a:gdLst/>
              <a:ahLst/>
              <a:cxnLst/>
              <a:rect l="l" t="t" r="r" b="b"/>
              <a:pathLst>
                <a:path w="67341" h="98012" extrusionOk="0">
                  <a:moveTo>
                    <a:pt x="24289" y="98012"/>
                  </a:moveTo>
                  <a:cubicBezTo>
                    <a:pt x="15097" y="97573"/>
                    <a:pt x="6410" y="93657"/>
                    <a:pt x="0" y="87058"/>
                  </a:cubicBezTo>
                  <a:cubicBezTo>
                    <a:pt x="1334" y="70009"/>
                    <a:pt x="23241" y="4858"/>
                    <a:pt x="67342" y="0"/>
                  </a:cubicBezTo>
                  <a:cubicBezTo>
                    <a:pt x="55350" y="8451"/>
                    <a:pt x="45844" y="19962"/>
                    <a:pt x="39814" y="33338"/>
                  </a:cubicBezTo>
                  <a:cubicBezTo>
                    <a:pt x="32994" y="54469"/>
                    <a:pt x="27813" y="76090"/>
                    <a:pt x="24289" y="9801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12"/>
            <p:cNvSpPr/>
            <p:nvPr/>
          </p:nvSpPr>
          <p:spPr>
            <a:xfrm>
              <a:off x="7794459" y="3551002"/>
              <a:ext cx="540508" cy="312148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12"/>
            <p:cNvSpPr/>
            <p:nvPr/>
          </p:nvSpPr>
          <p:spPr>
            <a:xfrm>
              <a:off x="7824798" y="3491907"/>
              <a:ext cx="469764" cy="181297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12"/>
            <p:cNvSpPr/>
            <p:nvPr/>
          </p:nvSpPr>
          <p:spPr>
            <a:xfrm>
              <a:off x="7794490" y="3623727"/>
              <a:ext cx="41046" cy="82625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12"/>
            <p:cNvSpPr/>
            <p:nvPr/>
          </p:nvSpPr>
          <p:spPr>
            <a:xfrm>
              <a:off x="8298847" y="3624184"/>
              <a:ext cx="36096" cy="82168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12"/>
            <p:cNvSpPr/>
            <p:nvPr/>
          </p:nvSpPr>
          <p:spPr>
            <a:xfrm>
              <a:off x="7842237" y="3535238"/>
              <a:ext cx="449908" cy="259679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69;p12"/>
            <p:cNvSpPr/>
            <p:nvPr/>
          </p:nvSpPr>
          <p:spPr>
            <a:xfrm>
              <a:off x="7815050" y="3673683"/>
              <a:ext cx="491482" cy="17632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70;p12"/>
            <p:cNvSpPr/>
            <p:nvPr/>
          </p:nvSpPr>
          <p:spPr>
            <a:xfrm>
              <a:off x="7794490" y="3472184"/>
              <a:ext cx="540453" cy="312196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71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72;p12"/>
            <p:cNvSpPr/>
            <p:nvPr/>
          </p:nvSpPr>
          <p:spPr>
            <a:xfrm>
              <a:off x="7752377" y="3752957"/>
              <a:ext cx="148877" cy="85976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73;p12"/>
            <p:cNvSpPr/>
            <p:nvPr/>
          </p:nvSpPr>
          <p:spPr>
            <a:xfrm>
              <a:off x="7787483" y="3773138"/>
              <a:ext cx="113771" cy="106232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12"/>
            <p:cNvSpPr/>
            <p:nvPr/>
          </p:nvSpPr>
          <p:spPr>
            <a:xfrm>
              <a:off x="7465892" y="3799784"/>
              <a:ext cx="344817" cy="254127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12"/>
            <p:cNvSpPr/>
            <p:nvPr/>
          </p:nvSpPr>
          <p:spPr>
            <a:xfrm>
              <a:off x="8113340" y="4275363"/>
              <a:ext cx="345579" cy="199519"/>
            </a:xfrm>
            <a:custGeom>
              <a:avLst/>
              <a:gdLst/>
              <a:ahLst/>
              <a:cxnLst/>
              <a:rect l="l" t="t" r="r" b="b"/>
              <a:pathLst>
                <a:path w="432244" h="249555" extrusionOk="0">
                  <a:moveTo>
                    <a:pt x="432244" y="124778"/>
                  </a:moveTo>
                  <a:cubicBezTo>
                    <a:pt x="432244" y="193690"/>
                    <a:pt x="335483" y="249555"/>
                    <a:pt x="216122" y="249555"/>
                  </a:cubicBezTo>
                  <a:cubicBezTo>
                    <a:pt x="96761" y="249555"/>
                    <a:pt x="0" y="193690"/>
                    <a:pt x="0" y="124778"/>
                  </a:cubicBezTo>
                  <a:cubicBezTo>
                    <a:pt x="0" y="55865"/>
                    <a:pt x="96761" y="0"/>
                    <a:pt x="216122" y="0"/>
                  </a:cubicBezTo>
                  <a:cubicBezTo>
                    <a:pt x="335483" y="0"/>
                    <a:pt x="432244" y="55865"/>
                    <a:pt x="432244" y="12477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12"/>
            <p:cNvSpPr/>
            <p:nvPr/>
          </p:nvSpPr>
          <p:spPr>
            <a:xfrm>
              <a:off x="8345604" y="3658605"/>
              <a:ext cx="79241" cy="172485"/>
            </a:xfrm>
            <a:custGeom>
              <a:avLst/>
              <a:gdLst/>
              <a:ahLst/>
              <a:cxnLst/>
              <a:rect l="l" t="t" r="r" b="b"/>
              <a:pathLst>
                <a:path w="99113" h="215741" extrusionOk="0">
                  <a:moveTo>
                    <a:pt x="77248" y="0"/>
                  </a:moveTo>
                  <a:cubicBezTo>
                    <a:pt x="79534" y="20098"/>
                    <a:pt x="103537" y="106775"/>
                    <a:pt x="98393" y="136398"/>
                  </a:cubicBezTo>
                  <a:cubicBezTo>
                    <a:pt x="93250" y="166021"/>
                    <a:pt x="11335" y="215741"/>
                    <a:pt x="11335" y="215741"/>
                  </a:cubicBezTo>
                  <a:lnTo>
                    <a:pt x="0" y="164973"/>
                  </a:lnTo>
                  <a:lnTo>
                    <a:pt x="45339" y="120491"/>
                  </a:lnTo>
                  <a:lnTo>
                    <a:pt x="33052" y="363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12"/>
            <p:cNvSpPr/>
            <p:nvPr/>
          </p:nvSpPr>
          <p:spPr>
            <a:xfrm>
              <a:off x="8356722" y="3587657"/>
              <a:ext cx="56961" cy="109603"/>
            </a:xfrm>
            <a:custGeom>
              <a:avLst/>
              <a:gdLst/>
              <a:ahLst/>
              <a:cxnLst/>
              <a:rect l="l" t="t" r="r" b="b"/>
              <a:pathLst>
                <a:path w="71246" h="137090" extrusionOk="0">
                  <a:moveTo>
                    <a:pt x="0" y="3302"/>
                  </a:moveTo>
                  <a:cubicBezTo>
                    <a:pt x="16516" y="-4309"/>
                    <a:pt x="36109" y="1625"/>
                    <a:pt x="45625" y="17113"/>
                  </a:cubicBezTo>
                  <a:cubicBezTo>
                    <a:pt x="57626" y="37020"/>
                    <a:pt x="70104" y="105505"/>
                    <a:pt x="71247" y="117125"/>
                  </a:cubicBezTo>
                  <a:cubicBezTo>
                    <a:pt x="71247" y="117125"/>
                    <a:pt x="54388" y="140557"/>
                    <a:pt x="29051" y="1366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12"/>
            <p:cNvSpPr/>
            <p:nvPr/>
          </p:nvSpPr>
          <p:spPr>
            <a:xfrm>
              <a:off x="8165307" y="4346248"/>
              <a:ext cx="122882" cy="68919"/>
            </a:xfrm>
            <a:custGeom>
              <a:avLst/>
              <a:gdLst/>
              <a:ahLst/>
              <a:cxnLst/>
              <a:rect l="l" t="t" r="r" b="b"/>
              <a:pathLst>
                <a:path w="153698" h="86203" extrusionOk="0">
                  <a:moveTo>
                    <a:pt x="145884" y="20876"/>
                  </a:moveTo>
                  <a:cubicBezTo>
                    <a:pt x="128063" y="25743"/>
                    <a:pt x="109051" y="23409"/>
                    <a:pt x="92925" y="14399"/>
                  </a:cubicBezTo>
                  <a:cubicBezTo>
                    <a:pt x="80162" y="14399"/>
                    <a:pt x="10820" y="-14843"/>
                    <a:pt x="1390" y="10017"/>
                  </a:cubicBezTo>
                  <a:cubicBezTo>
                    <a:pt x="-6802" y="31925"/>
                    <a:pt x="23202" y="52118"/>
                    <a:pt x="39490" y="55928"/>
                  </a:cubicBezTo>
                  <a:cubicBezTo>
                    <a:pt x="74542" y="64405"/>
                    <a:pt x="100355" y="81931"/>
                    <a:pt x="114451" y="84503"/>
                  </a:cubicBezTo>
                  <a:cubicBezTo>
                    <a:pt x="124929" y="86694"/>
                    <a:pt x="138455" y="88122"/>
                    <a:pt x="146837" y="79931"/>
                  </a:cubicBezTo>
                  <a:cubicBezTo>
                    <a:pt x="156552" y="70406"/>
                    <a:pt x="155695" y="33830"/>
                    <a:pt x="145884" y="20876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12"/>
            <p:cNvSpPr/>
            <p:nvPr/>
          </p:nvSpPr>
          <p:spPr>
            <a:xfrm>
              <a:off x="8165313" y="4357988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103"/>
                  </a:moveTo>
                  <a:cubicBezTo>
                    <a:pt x="100059" y="61150"/>
                    <a:pt x="74246" y="43720"/>
                    <a:pt x="39195" y="35528"/>
                  </a:cubicBezTo>
                  <a:cubicBezTo>
                    <a:pt x="25764" y="32290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246" y="50006"/>
                    <a:pt x="100059" y="67532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9" y="65161"/>
                    <a:pt x="126882" y="67742"/>
                    <a:pt x="114156" y="6410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12"/>
            <p:cNvSpPr/>
            <p:nvPr/>
          </p:nvSpPr>
          <p:spPr>
            <a:xfrm>
              <a:off x="8255166" y="4305930"/>
              <a:ext cx="122882" cy="68953"/>
            </a:xfrm>
            <a:custGeom>
              <a:avLst/>
              <a:gdLst/>
              <a:ahLst/>
              <a:cxnLst/>
              <a:rect l="l" t="t" r="r" b="b"/>
              <a:pathLst>
                <a:path w="153698" h="86245" extrusionOk="0">
                  <a:moveTo>
                    <a:pt x="145884" y="20822"/>
                  </a:moveTo>
                  <a:cubicBezTo>
                    <a:pt x="128082" y="25766"/>
                    <a:pt x="109041" y="23470"/>
                    <a:pt x="92925" y="14441"/>
                  </a:cubicBezTo>
                  <a:cubicBezTo>
                    <a:pt x="80162" y="14441"/>
                    <a:pt x="10820" y="-14896"/>
                    <a:pt x="1390" y="10059"/>
                  </a:cubicBezTo>
                  <a:cubicBezTo>
                    <a:pt x="-6802" y="31871"/>
                    <a:pt x="23202" y="52064"/>
                    <a:pt x="39490" y="55969"/>
                  </a:cubicBezTo>
                  <a:cubicBezTo>
                    <a:pt x="74446" y="64447"/>
                    <a:pt x="100354" y="81877"/>
                    <a:pt x="114452" y="84544"/>
                  </a:cubicBezTo>
                  <a:cubicBezTo>
                    <a:pt x="124929" y="86735"/>
                    <a:pt x="138454" y="88164"/>
                    <a:pt x="146837" y="79973"/>
                  </a:cubicBezTo>
                  <a:cubicBezTo>
                    <a:pt x="156552" y="70352"/>
                    <a:pt x="155695" y="33776"/>
                    <a:pt x="145884" y="2082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12"/>
            <p:cNvSpPr/>
            <p:nvPr/>
          </p:nvSpPr>
          <p:spPr>
            <a:xfrm>
              <a:off x="8255174" y="4317703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008"/>
                  </a:moveTo>
                  <a:cubicBezTo>
                    <a:pt x="100059" y="61055"/>
                    <a:pt x="74151" y="43624"/>
                    <a:pt x="39195" y="35433"/>
                  </a:cubicBezTo>
                  <a:cubicBezTo>
                    <a:pt x="25764" y="32195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151" y="50006"/>
                    <a:pt x="100059" y="67437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8" y="65170"/>
                    <a:pt x="126862" y="67713"/>
                    <a:pt x="114156" y="64008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12"/>
            <p:cNvSpPr/>
            <p:nvPr/>
          </p:nvSpPr>
          <p:spPr>
            <a:xfrm>
              <a:off x="8198325" y="3858200"/>
              <a:ext cx="179678" cy="507212"/>
            </a:xfrm>
            <a:custGeom>
              <a:avLst/>
              <a:gdLst/>
              <a:ahLst/>
              <a:cxnLst/>
              <a:rect l="l" t="t" r="r" b="b"/>
              <a:pathLst>
                <a:path w="224738" h="634412" extrusionOk="0">
                  <a:moveTo>
                    <a:pt x="218313" y="392525"/>
                  </a:moveTo>
                  <a:cubicBezTo>
                    <a:pt x="215360" y="366693"/>
                    <a:pt x="210036" y="341186"/>
                    <a:pt x="202406" y="316325"/>
                  </a:cubicBezTo>
                  <a:cubicBezTo>
                    <a:pt x="202406" y="316325"/>
                    <a:pt x="207169" y="250793"/>
                    <a:pt x="209550" y="188690"/>
                  </a:cubicBezTo>
                  <a:cubicBezTo>
                    <a:pt x="212217" y="118205"/>
                    <a:pt x="236696" y="56197"/>
                    <a:pt x="217361" y="0"/>
                  </a:cubicBezTo>
                  <a:lnTo>
                    <a:pt x="0" y="48292"/>
                  </a:lnTo>
                  <a:cubicBezTo>
                    <a:pt x="0" y="48292"/>
                    <a:pt x="13145" y="329279"/>
                    <a:pt x="16002" y="363283"/>
                  </a:cubicBezTo>
                  <a:cubicBezTo>
                    <a:pt x="17536" y="389744"/>
                    <a:pt x="20717" y="416080"/>
                    <a:pt x="25527" y="442150"/>
                  </a:cubicBezTo>
                  <a:cubicBezTo>
                    <a:pt x="35052" y="496729"/>
                    <a:pt x="51530" y="626459"/>
                    <a:pt x="51530" y="626459"/>
                  </a:cubicBezTo>
                  <a:cubicBezTo>
                    <a:pt x="68075" y="634374"/>
                    <a:pt x="86801" y="636461"/>
                    <a:pt x="104680" y="632365"/>
                  </a:cubicBezTo>
                  <a:cubicBezTo>
                    <a:pt x="104680" y="632365"/>
                    <a:pt x="103061" y="468344"/>
                    <a:pt x="101537" y="429006"/>
                  </a:cubicBezTo>
                  <a:cubicBezTo>
                    <a:pt x="99727" y="381381"/>
                    <a:pt x="98298" y="384715"/>
                    <a:pt x="98298" y="384715"/>
                  </a:cubicBezTo>
                  <a:lnTo>
                    <a:pt x="105537" y="265176"/>
                  </a:lnTo>
                  <a:lnTo>
                    <a:pt x="110204" y="205740"/>
                  </a:lnTo>
                  <a:cubicBezTo>
                    <a:pt x="110204" y="205740"/>
                    <a:pt x="116205" y="249364"/>
                    <a:pt x="119729" y="288322"/>
                  </a:cubicBezTo>
                  <a:cubicBezTo>
                    <a:pt x="123158" y="322326"/>
                    <a:pt x="131350" y="353092"/>
                    <a:pt x="140494" y="416338"/>
                  </a:cubicBezTo>
                  <a:cubicBezTo>
                    <a:pt x="148495" y="471202"/>
                    <a:pt x="161354" y="581501"/>
                    <a:pt x="161354" y="581501"/>
                  </a:cubicBezTo>
                  <a:cubicBezTo>
                    <a:pt x="184404" y="594836"/>
                    <a:pt x="215551" y="583787"/>
                    <a:pt x="215551" y="583787"/>
                  </a:cubicBezTo>
                  <a:cubicBezTo>
                    <a:pt x="215551" y="583787"/>
                    <a:pt x="224790" y="440150"/>
                    <a:pt x="218313" y="39252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12"/>
            <p:cNvSpPr/>
            <p:nvPr/>
          </p:nvSpPr>
          <p:spPr>
            <a:xfrm>
              <a:off x="8224549" y="3442293"/>
              <a:ext cx="130417" cy="208730"/>
            </a:xfrm>
            <a:custGeom>
              <a:avLst/>
              <a:gdLst/>
              <a:ahLst/>
              <a:cxnLst/>
              <a:rect l="l" t="t" r="r" b="b"/>
              <a:pathLst>
                <a:path w="163123" h="261076" extrusionOk="0">
                  <a:moveTo>
                    <a:pt x="153890" y="186263"/>
                  </a:moveTo>
                  <a:cubicBezTo>
                    <a:pt x="137316" y="187120"/>
                    <a:pt x="125315" y="191406"/>
                    <a:pt x="122934" y="186263"/>
                  </a:cubicBezTo>
                  <a:cubicBezTo>
                    <a:pt x="121190" y="177738"/>
                    <a:pt x="119914" y="169117"/>
                    <a:pt x="119124" y="160450"/>
                  </a:cubicBezTo>
                  <a:cubicBezTo>
                    <a:pt x="121028" y="155592"/>
                    <a:pt x="122743" y="150449"/>
                    <a:pt x="122743" y="150449"/>
                  </a:cubicBezTo>
                  <a:cubicBezTo>
                    <a:pt x="143508" y="137685"/>
                    <a:pt x="150080" y="115206"/>
                    <a:pt x="152842" y="89012"/>
                  </a:cubicBezTo>
                  <a:cubicBezTo>
                    <a:pt x="157509" y="44245"/>
                    <a:pt x="133316" y="5097"/>
                    <a:pt x="88548" y="430"/>
                  </a:cubicBezTo>
                  <a:cubicBezTo>
                    <a:pt x="46543" y="-3952"/>
                    <a:pt x="15587" y="25671"/>
                    <a:pt x="7300" y="66248"/>
                  </a:cubicBezTo>
                  <a:cubicBezTo>
                    <a:pt x="2918" y="86250"/>
                    <a:pt x="-5940" y="124064"/>
                    <a:pt x="5967" y="157021"/>
                  </a:cubicBezTo>
                  <a:cubicBezTo>
                    <a:pt x="12729" y="175499"/>
                    <a:pt x="21302" y="190073"/>
                    <a:pt x="29969" y="192930"/>
                  </a:cubicBezTo>
                  <a:cubicBezTo>
                    <a:pt x="38294" y="192740"/>
                    <a:pt x="46600" y="192006"/>
                    <a:pt x="54830" y="190739"/>
                  </a:cubicBezTo>
                  <a:lnTo>
                    <a:pt x="54830" y="190739"/>
                  </a:lnTo>
                  <a:cubicBezTo>
                    <a:pt x="54830" y="190739"/>
                    <a:pt x="57020" y="203122"/>
                    <a:pt x="58544" y="211123"/>
                  </a:cubicBezTo>
                  <a:cubicBezTo>
                    <a:pt x="60068" y="219124"/>
                    <a:pt x="59497" y="223315"/>
                    <a:pt x="43590" y="233030"/>
                  </a:cubicBezTo>
                  <a:cubicBezTo>
                    <a:pt x="27684" y="242746"/>
                    <a:pt x="67593" y="262939"/>
                    <a:pt x="93692" y="260939"/>
                  </a:cubicBezTo>
                  <a:cubicBezTo>
                    <a:pt x="119790" y="258938"/>
                    <a:pt x="149032" y="243222"/>
                    <a:pt x="157128" y="226458"/>
                  </a:cubicBezTo>
                  <a:cubicBezTo>
                    <a:pt x="165986" y="207884"/>
                    <a:pt x="165129" y="185786"/>
                    <a:pt x="153890" y="18626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12"/>
            <p:cNvSpPr/>
            <p:nvPr/>
          </p:nvSpPr>
          <p:spPr>
            <a:xfrm>
              <a:off x="8197056" y="3589895"/>
              <a:ext cx="200560" cy="332104"/>
            </a:xfrm>
            <a:custGeom>
              <a:avLst/>
              <a:gdLst/>
              <a:ahLst/>
              <a:cxnLst/>
              <a:rect l="l" t="t" r="r" b="b"/>
              <a:pathLst>
                <a:path w="250857" h="415389" extrusionOk="0">
                  <a:moveTo>
                    <a:pt x="164275" y="4121"/>
                  </a:moveTo>
                  <a:cubicBezTo>
                    <a:pt x="168847" y="15551"/>
                    <a:pt x="157131" y="29553"/>
                    <a:pt x="126175" y="39364"/>
                  </a:cubicBezTo>
                  <a:cubicBezTo>
                    <a:pt x="95218" y="49174"/>
                    <a:pt x="92266" y="36506"/>
                    <a:pt x="92266" y="36506"/>
                  </a:cubicBezTo>
                  <a:cubicBezTo>
                    <a:pt x="71558" y="45793"/>
                    <a:pt x="51375" y="56194"/>
                    <a:pt x="31782" y="67653"/>
                  </a:cubicBezTo>
                  <a:cubicBezTo>
                    <a:pt x="12732" y="80702"/>
                    <a:pt x="4921" y="118516"/>
                    <a:pt x="2350" y="181953"/>
                  </a:cubicBezTo>
                  <a:cubicBezTo>
                    <a:pt x="-508" y="255676"/>
                    <a:pt x="-794" y="365119"/>
                    <a:pt x="1683" y="383978"/>
                  </a:cubicBezTo>
                  <a:cubicBezTo>
                    <a:pt x="1683" y="383978"/>
                    <a:pt x="36544" y="418745"/>
                    <a:pt x="81217" y="415125"/>
                  </a:cubicBezTo>
                  <a:cubicBezTo>
                    <a:pt x="125889" y="411506"/>
                    <a:pt x="200946" y="371977"/>
                    <a:pt x="219139" y="341401"/>
                  </a:cubicBezTo>
                  <a:cubicBezTo>
                    <a:pt x="218662" y="276727"/>
                    <a:pt x="211042" y="266249"/>
                    <a:pt x="221520" y="229006"/>
                  </a:cubicBezTo>
                  <a:cubicBezTo>
                    <a:pt x="245523" y="143281"/>
                    <a:pt x="258096" y="108801"/>
                    <a:pt x="246475" y="52127"/>
                  </a:cubicBezTo>
                  <a:cubicBezTo>
                    <a:pt x="236950" y="5359"/>
                    <a:pt x="223425" y="-451"/>
                    <a:pt x="204946" y="25"/>
                  </a:cubicBezTo>
                  <a:cubicBezTo>
                    <a:pt x="191326" y="683"/>
                    <a:pt x="177752" y="2045"/>
                    <a:pt x="164275" y="412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12"/>
            <p:cNvSpPr/>
            <p:nvPr/>
          </p:nvSpPr>
          <p:spPr>
            <a:xfrm>
              <a:off x="8000839" y="3631642"/>
              <a:ext cx="254644" cy="198374"/>
            </a:xfrm>
            <a:custGeom>
              <a:avLst/>
              <a:gdLst/>
              <a:ahLst/>
              <a:cxnLst/>
              <a:rect l="l" t="t" r="r" b="b"/>
              <a:pathLst>
                <a:path w="318504" h="248122" extrusionOk="0">
                  <a:moveTo>
                    <a:pt x="177479" y="190982"/>
                  </a:moveTo>
                  <a:cubicBezTo>
                    <a:pt x="214150" y="200507"/>
                    <a:pt x="222723" y="177171"/>
                    <a:pt x="227580" y="158026"/>
                  </a:cubicBezTo>
                  <a:cubicBezTo>
                    <a:pt x="239201" y="111734"/>
                    <a:pt x="245487" y="69920"/>
                    <a:pt x="254155" y="43726"/>
                  </a:cubicBezTo>
                  <a:cubicBezTo>
                    <a:pt x="264442" y="12674"/>
                    <a:pt x="275110" y="7721"/>
                    <a:pt x="290255" y="1721"/>
                  </a:cubicBezTo>
                  <a:cubicBezTo>
                    <a:pt x="307876" y="-5423"/>
                    <a:pt x="323116" y="9531"/>
                    <a:pt x="317210" y="49346"/>
                  </a:cubicBezTo>
                  <a:cubicBezTo>
                    <a:pt x="310010" y="95104"/>
                    <a:pt x="298789" y="140138"/>
                    <a:pt x="283683" y="183934"/>
                  </a:cubicBezTo>
                  <a:cubicBezTo>
                    <a:pt x="279110" y="198412"/>
                    <a:pt x="268919" y="224034"/>
                    <a:pt x="253583" y="236417"/>
                  </a:cubicBezTo>
                  <a:cubicBezTo>
                    <a:pt x="234533" y="251656"/>
                    <a:pt x="205958" y="250990"/>
                    <a:pt x="163096" y="240322"/>
                  </a:cubicBezTo>
                  <a:cubicBezTo>
                    <a:pt x="144808" y="235750"/>
                    <a:pt x="124996" y="224796"/>
                    <a:pt x="89849" y="208604"/>
                  </a:cubicBezTo>
                  <a:cubicBezTo>
                    <a:pt x="80324" y="204222"/>
                    <a:pt x="73275" y="201364"/>
                    <a:pt x="55368" y="192983"/>
                  </a:cubicBezTo>
                  <a:cubicBezTo>
                    <a:pt x="37423" y="184886"/>
                    <a:pt x="21678" y="172599"/>
                    <a:pt x="9458" y="157169"/>
                  </a:cubicBezTo>
                  <a:cubicBezTo>
                    <a:pt x="-67" y="143548"/>
                    <a:pt x="-1115" y="137166"/>
                    <a:pt x="790" y="134118"/>
                  </a:cubicBezTo>
                  <a:cubicBezTo>
                    <a:pt x="2695" y="131070"/>
                    <a:pt x="7458" y="131070"/>
                    <a:pt x="12410" y="136785"/>
                  </a:cubicBezTo>
                  <a:cubicBezTo>
                    <a:pt x="19697" y="146405"/>
                    <a:pt x="28632" y="154664"/>
                    <a:pt x="38795" y="161169"/>
                  </a:cubicBezTo>
                  <a:cubicBezTo>
                    <a:pt x="38795" y="161169"/>
                    <a:pt x="27174" y="149168"/>
                    <a:pt x="20983" y="141452"/>
                  </a:cubicBezTo>
                  <a:cubicBezTo>
                    <a:pt x="15363" y="134547"/>
                    <a:pt x="10686" y="126927"/>
                    <a:pt x="7076" y="118783"/>
                  </a:cubicBezTo>
                  <a:cubicBezTo>
                    <a:pt x="3743" y="110877"/>
                    <a:pt x="10601" y="99733"/>
                    <a:pt x="15744" y="105734"/>
                  </a:cubicBezTo>
                  <a:cubicBezTo>
                    <a:pt x="20888" y="111734"/>
                    <a:pt x="23459" y="117164"/>
                    <a:pt x="32889" y="128498"/>
                  </a:cubicBezTo>
                  <a:cubicBezTo>
                    <a:pt x="37880" y="134547"/>
                    <a:pt x="43567" y="139985"/>
                    <a:pt x="49844" y="144691"/>
                  </a:cubicBezTo>
                  <a:cubicBezTo>
                    <a:pt x="43977" y="136738"/>
                    <a:pt x="38757" y="128327"/>
                    <a:pt x="34223" y="119545"/>
                  </a:cubicBezTo>
                  <a:cubicBezTo>
                    <a:pt x="30213" y="112649"/>
                    <a:pt x="28232" y="104753"/>
                    <a:pt x="28508" y="96780"/>
                  </a:cubicBezTo>
                  <a:cubicBezTo>
                    <a:pt x="28508" y="92684"/>
                    <a:pt x="34699" y="87731"/>
                    <a:pt x="40128" y="95637"/>
                  </a:cubicBezTo>
                  <a:cubicBezTo>
                    <a:pt x="45510" y="106372"/>
                    <a:pt x="52130" y="116440"/>
                    <a:pt x="59845" y="125641"/>
                  </a:cubicBezTo>
                  <a:cubicBezTo>
                    <a:pt x="68227" y="134309"/>
                    <a:pt x="75275" y="139357"/>
                    <a:pt x="75466" y="136880"/>
                  </a:cubicBezTo>
                  <a:cubicBezTo>
                    <a:pt x="75657" y="134404"/>
                    <a:pt x="70418" y="129737"/>
                    <a:pt x="67465" y="119640"/>
                  </a:cubicBezTo>
                  <a:cubicBezTo>
                    <a:pt x="64512" y="109544"/>
                    <a:pt x="67465" y="98876"/>
                    <a:pt x="73085" y="97637"/>
                  </a:cubicBezTo>
                  <a:cubicBezTo>
                    <a:pt x="78705" y="96399"/>
                    <a:pt x="77561" y="96780"/>
                    <a:pt x="82038" y="106305"/>
                  </a:cubicBezTo>
                  <a:cubicBezTo>
                    <a:pt x="88230" y="116002"/>
                    <a:pt x="93792" y="126089"/>
                    <a:pt x="98707" y="136499"/>
                  </a:cubicBezTo>
                  <a:cubicBezTo>
                    <a:pt x="101536" y="146263"/>
                    <a:pt x="106699" y="155187"/>
                    <a:pt x="113757" y="162503"/>
                  </a:cubicBezTo>
                  <a:cubicBezTo>
                    <a:pt x="122805" y="171647"/>
                    <a:pt x="142713" y="182219"/>
                    <a:pt x="177479" y="19098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12"/>
            <p:cNvSpPr/>
            <p:nvPr/>
          </p:nvSpPr>
          <p:spPr>
            <a:xfrm>
              <a:off x="8187055" y="3627341"/>
              <a:ext cx="77484" cy="113419"/>
            </a:xfrm>
            <a:custGeom>
              <a:avLst/>
              <a:gdLst/>
              <a:ahLst/>
              <a:cxnLst/>
              <a:rect l="l" t="t" r="r" b="b"/>
              <a:pathLst>
                <a:path w="96916" h="141862" extrusionOk="0">
                  <a:moveTo>
                    <a:pt x="70866" y="624"/>
                  </a:moveTo>
                  <a:cubicBezTo>
                    <a:pt x="46387" y="-2900"/>
                    <a:pt x="29146" y="8053"/>
                    <a:pt x="18288" y="45105"/>
                  </a:cubicBezTo>
                  <a:cubicBezTo>
                    <a:pt x="7429" y="82158"/>
                    <a:pt x="0" y="112638"/>
                    <a:pt x="0" y="112638"/>
                  </a:cubicBezTo>
                  <a:cubicBezTo>
                    <a:pt x="9677" y="126611"/>
                    <a:pt x="24336" y="136355"/>
                    <a:pt x="40957" y="139879"/>
                  </a:cubicBezTo>
                  <a:cubicBezTo>
                    <a:pt x="70199" y="146928"/>
                    <a:pt x="80772" y="132926"/>
                    <a:pt x="80772" y="132926"/>
                  </a:cubicBezTo>
                  <a:cubicBezTo>
                    <a:pt x="80772" y="132926"/>
                    <a:pt x="88868" y="94064"/>
                    <a:pt x="93916" y="67680"/>
                  </a:cubicBezTo>
                  <a:cubicBezTo>
                    <a:pt x="98965" y="41295"/>
                    <a:pt x="101155" y="5101"/>
                    <a:pt x="70866" y="6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12"/>
            <p:cNvSpPr/>
            <p:nvPr/>
          </p:nvSpPr>
          <p:spPr>
            <a:xfrm>
              <a:off x="8224358" y="3433131"/>
              <a:ext cx="126435" cy="139356"/>
            </a:xfrm>
            <a:custGeom>
              <a:avLst/>
              <a:gdLst/>
              <a:ahLst/>
              <a:cxnLst/>
              <a:rect l="l" t="t" r="r" b="b"/>
              <a:pathLst>
                <a:path w="158142" h="174304" extrusionOk="0">
                  <a:moveTo>
                    <a:pt x="8872" y="71897"/>
                  </a:moveTo>
                  <a:cubicBezTo>
                    <a:pt x="8872" y="71897"/>
                    <a:pt x="-29704" y="13223"/>
                    <a:pt x="54021" y="1221"/>
                  </a:cubicBezTo>
                  <a:cubicBezTo>
                    <a:pt x="114409" y="-7446"/>
                    <a:pt x="153176" y="31416"/>
                    <a:pt x="157653" y="73516"/>
                  </a:cubicBezTo>
                  <a:cubicBezTo>
                    <a:pt x="161939" y="113712"/>
                    <a:pt x="137174" y="155527"/>
                    <a:pt x="119553" y="172100"/>
                  </a:cubicBezTo>
                  <a:cubicBezTo>
                    <a:pt x="101960" y="176519"/>
                    <a:pt x="83358" y="174243"/>
                    <a:pt x="67356" y="165718"/>
                  </a:cubicBezTo>
                  <a:cubicBezTo>
                    <a:pt x="66403" y="154793"/>
                    <a:pt x="66022" y="143820"/>
                    <a:pt x="66213" y="132857"/>
                  </a:cubicBezTo>
                  <a:cubicBezTo>
                    <a:pt x="66213" y="132857"/>
                    <a:pt x="95359" y="70849"/>
                    <a:pt x="8872" y="71897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89" name="Google Shape;289;p12"/>
            <p:cNvGrpSpPr/>
            <p:nvPr/>
          </p:nvGrpSpPr>
          <p:grpSpPr>
            <a:xfrm>
              <a:off x="6544681" y="927100"/>
              <a:ext cx="264550" cy="200503"/>
              <a:chOff x="6621095" y="1452181"/>
              <a:chExt cx="330894" cy="250785"/>
            </a:xfrm>
          </p:grpSpPr>
          <p:sp>
            <p:nvSpPr>
              <p:cNvPr id="290" name="Google Shape;290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291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292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293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294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95" name="Google Shape;295;p12"/>
            <p:cNvGrpSpPr/>
            <p:nvPr/>
          </p:nvGrpSpPr>
          <p:grpSpPr>
            <a:xfrm>
              <a:off x="7210360" y="1314224"/>
              <a:ext cx="264550" cy="200503"/>
              <a:chOff x="6621095" y="1452181"/>
              <a:chExt cx="330894" cy="250785"/>
            </a:xfrm>
          </p:grpSpPr>
          <p:sp>
            <p:nvSpPr>
              <p:cNvPr id="296" name="Google Shape;296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298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299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300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01" name="Google Shape;301;p12"/>
            <p:cNvSpPr/>
            <p:nvPr/>
          </p:nvSpPr>
          <p:spPr>
            <a:xfrm>
              <a:off x="7451033" y="1163186"/>
              <a:ext cx="126280" cy="353110"/>
            </a:xfrm>
            <a:custGeom>
              <a:avLst/>
              <a:gdLst/>
              <a:ahLst/>
              <a:cxnLst/>
              <a:rect l="l" t="t" r="r" b="b"/>
              <a:pathLst>
                <a:path w="157949" h="441664" extrusionOk="0">
                  <a:moveTo>
                    <a:pt x="12203" y="371070"/>
                  </a:moveTo>
                  <a:cubicBezTo>
                    <a:pt x="20680" y="365574"/>
                    <a:pt x="29462" y="360555"/>
                    <a:pt x="38492" y="356021"/>
                  </a:cubicBezTo>
                  <a:cubicBezTo>
                    <a:pt x="46960" y="353439"/>
                    <a:pt x="54656" y="348791"/>
                    <a:pt x="60876" y="342495"/>
                  </a:cubicBezTo>
                  <a:cubicBezTo>
                    <a:pt x="69162" y="334399"/>
                    <a:pt x="82593" y="304395"/>
                    <a:pt x="92118" y="274391"/>
                  </a:cubicBezTo>
                  <a:cubicBezTo>
                    <a:pt x="101785" y="240846"/>
                    <a:pt x="105624" y="205889"/>
                    <a:pt x="103452" y="171045"/>
                  </a:cubicBezTo>
                  <a:cubicBezTo>
                    <a:pt x="99357" y="129516"/>
                    <a:pt x="84402" y="71318"/>
                    <a:pt x="80593" y="47220"/>
                  </a:cubicBezTo>
                  <a:cubicBezTo>
                    <a:pt x="76782" y="23122"/>
                    <a:pt x="84498" y="13692"/>
                    <a:pt x="95642" y="4929"/>
                  </a:cubicBezTo>
                  <a:cubicBezTo>
                    <a:pt x="108691" y="-5453"/>
                    <a:pt x="126789" y="-881"/>
                    <a:pt x="136409" y="32647"/>
                  </a:cubicBezTo>
                  <a:cubicBezTo>
                    <a:pt x="148810" y="79078"/>
                    <a:pt x="156030" y="126740"/>
                    <a:pt x="157935" y="174760"/>
                  </a:cubicBezTo>
                  <a:cubicBezTo>
                    <a:pt x="158269" y="210341"/>
                    <a:pt x="152773" y="245736"/>
                    <a:pt x="141648" y="279535"/>
                  </a:cubicBezTo>
                  <a:cubicBezTo>
                    <a:pt x="131656" y="308501"/>
                    <a:pt x="118226" y="336161"/>
                    <a:pt x="101643" y="361926"/>
                  </a:cubicBezTo>
                  <a:cubicBezTo>
                    <a:pt x="97071" y="369737"/>
                    <a:pt x="95547" y="376595"/>
                    <a:pt x="88498" y="392406"/>
                  </a:cubicBezTo>
                  <a:cubicBezTo>
                    <a:pt x="81745" y="408237"/>
                    <a:pt x="71258" y="422191"/>
                    <a:pt x="57923" y="433078"/>
                  </a:cubicBezTo>
                  <a:cubicBezTo>
                    <a:pt x="46112" y="441555"/>
                    <a:pt x="40587" y="442603"/>
                    <a:pt x="37825" y="441079"/>
                  </a:cubicBezTo>
                  <a:cubicBezTo>
                    <a:pt x="35063" y="439555"/>
                    <a:pt x="35063" y="435364"/>
                    <a:pt x="40016" y="430887"/>
                  </a:cubicBezTo>
                  <a:cubicBezTo>
                    <a:pt x="48341" y="424391"/>
                    <a:pt x="55437" y="416457"/>
                    <a:pt x="60971" y="407456"/>
                  </a:cubicBezTo>
                  <a:cubicBezTo>
                    <a:pt x="60971" y="407456"/>
                    <a:pt x="50684" y="417743"/>
                    <a:pt x="44017" y="423362"/>
                  </a:cubicBezTo>
                  <a:cubicBezTo>
                    <a:pt x="38044" y="428354"/>
                    <a:pt x="31443" y="432545"/>
                    <a:pt x="24395" y="435840"/>
                  </a:cubicBezTo>
                  <a:cubicBezTo>
                    <a:pt x="17537" y="438888"/>
                    <a:pt x="8012" y="433078"/>
                    <a:pt x="12870" y="428411"/>
                  </a:cubicBezTo>
                  <a:cubicBezTo>
                    <a:pt x="17727" y="423743"/>
                    <a:pt x="22395" y="421553"/>
                    <a:pt x="32491" y="413076"/>
                  </a:cubicBezTo>
                  <a:cubicBezTo>
                    <a:pt x="37701" y="408580"/>
                    <a:pt x="42369" y="403503"/>
                    <a:pt x="46398" y="397931"/>
                  </a:cubicBezTo>
                  <a:cubicBezTo>
                    <a:pt x="39521" y="403208"/>
                    <a:pt x="32225" y="407922"/>
                    <a:pt x="24585" y="412028"/>
                  </a:cubicBezTo>
                  <a:cubicBezTo>
                    <a:pt x="18632" y="415685"/>
                    <a:pt x="11755" y="417533"/>
                    <a:pt x="4773" y="417362"/>
                  </a:cubicBezTo>
                  <a:cubicBezTo>
                    <a:pt x="1154" y="417362"/>
                    <a:pt x="-3228" y="412218"/>
                    <a:pt x="3535" y="407265"/>
                  </a:cubicBezTo>
                  <a:cubicBezTo>
                    <a:pt x="12879" y="402417"/>
                    <a:pt x="21604" y="396473"/>
                    <a:pt x="29538" y="389549"/>
                  </a:cubicBezTo>
                  <a:cubicBezTo>
                    <a:pt x="37063" y="382119"/>
                    <a:pt x="41254" y="375833"/>
                    <a:pt x="39063" y="375642"/>
                  </a:cubicBezTo>
                  <a:cubicBezTo>
                    <a:pt x="36873" y="375452"/>
                    <a:pt x="32872" y="380214"/>
                    <a:pt x="24109" y="382976"/>
                  </a:cubicBezTo>
                  <a:cubicBezTo>
                    <a:pt x="15346" y="385739"/>
                    <a:pt x="5917" y="382976"/>
                    <a:pt x="5059" y="378404"/>
                  </a:cubicBezTo>
                  <a:cubicBezTo>
                    <a:pt x="4202" y="373832"/>
                    <a:pt x="4011" y="375261"/>
                    <a:pt x="12203" y="37107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12"/>
            <p:cNvSpPr/>
            <p:nvPr/>
          </p:nvSpPr>
          <p:spPr>
            <a:xfrm>
              <a:off x="7509451" y="1160411"/>
              <a:ext cx="72725" cy="98625"/>
            </a:xfrm>
            <a:custGeom>
              <a:avLst/>
              <a:gdLst/>
              <a:ahLst/>
              <a:cxnLst/>
              <a:rect l="l" t="t" r="r" b="b"/>
              <a:pathLst>
                <a:path w="90963" h="123358" extrusionOk="0">
                  <a:moveTo>
                    <a:pt x="90964" y="98317"/>
                  </a:moveTo>
                  <a:cubicBezTo>
                    <a:pt x="90964" y="98317"/>
                    <a:pt x="58007" y="131083"/>
                    <a:pt x="19050" y="121653"/>
                  </a:cubicBezTo>
                  <a:cubicBezTo>
                    <a:pt x="13525" y="117843"/>
                    <a:pt x="0" y="41358"/>
                    <a:pt x="0" y="41358"/>
                  </a:cubicBezTo>
                  <a:cubicBezTo>
                    <a:pt x="0" y="41358"/>
                    <a:pt x="0" y="-1029"/>
                    <a:pt x="32480" y="19"/>
                  </a:cubicBezTo>
                  <a:cubicBezTo>
                    <a:pt x="64961" y="1067"/>
                    <a:pt x="90964" y="98317"/>
                    <a:pt x="90964" y="9831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03" name="Google Shape;303;p12"/>
            <p:cNvGrpSpPr/>
            <p:nvPr/>
          </p:nvGrpSpPr>
          <p:grpSpPr>
            <a:xfrm flipH="1">
              <a:off x="8183210" y="2407472"/>
              <a:ext cx="780360" cy="1195999"/>
              <a:chOff x="3975528" y="3303922"/>
              <a:chExt cx="780360" cy="1195999"/>
            </a:xfrm>
          </p:grpSpPr>
          <p:sp>
            <p:nvSpPr>
              <p:cNvPr id="304" name="Google Shape;304;p12"/>
              <p:cNvSpPr/>
              <p:nvPr/>
            </p:nvSpPr>
            <p:spPr>
              <a:xfrm>
                <a:off x="4158598" y="4226660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689" y="206407"/>
                    </a:moveTo>
                    <a:lnTo>
                      <a:pt x="0" y="103251"/>
                    </a:lnTo>
                    <a:lnTo>
                      <a:pt x="178689" y="0"/>
                    </a:lnTo>
                    <a:lnTo>
                      <a:pt x="357473" y="103251"/>
                    </a:lnTo>
                    <a:lnTo>
                      <a:pt x="178689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305;p12"/>
              <p:cNvSpPr/>
              <p:nvPr/>
            </p:nvSpPr>
            <p:spPr>
              <a:xfrm>
                <a:off x="4385076" y="4094459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306;p12"/>
              <p:cNvSpPr/>
              <p:nvPr/>
            </p:nvSpPr>
            <p:spPr>
              <a:xfrm>
                <a:off x="4469909" y="3303922"/>
                <a:ext cx="285978" cy="165049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311" extrusionOk="0">
                    <a:moveTo>
                      <a:pt x="178784" y="206312"/>
                    </a:moveTo>
                    <a:lnTo>
                      <a:pt x="0" y="103156"/>
                    </a:lnTo>
                    <a:lnTo>
                      <a:pt x="178784" y="0"/>
                    </a:lnTo>
                    <a:lnTo>
                      <a:pt x="357473" y="103156"/>
                    </a:lnTo>
                    <a:lnTo>
                      <a:pt x="178784" y="2063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307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308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309;p12"/>
              <p:cNvSpPr/>
              <p:nvPr/>
            </p:nvSpPr>
            <p:spPr>
              <a:xfrm>
                <a:off x="4612847" y="3386395"/>
                <a:ext cx="142951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1032319" extrusionOk="0">
                    <a:moveTo>
                      <a:pt x="178689" y="929068"/>
                    </a:moveTo>
                    <a:lnTo>
                      <a:pt x="0" y="103232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92906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310;p12"/>
              <p:cNvSpPr/>
              <p:nvPr/>
            </p:nvSpPr>
            <p:spPr>
              <a:xfrm>
                <a:off x="4255541" y="3675088"/>
                <a:ext cx="285978" cy="165201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501" extrusionOk="0">
                    <a:moveTo>
                      <a:pt x="178784" y="206502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50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313;p12"/>
              <p:cNvSpPr/>
              <p:nvPr/>
            </p:nvSpPr>
            <p:spPr>
              <a:xfrm>
                <a:off x="4398478" y="3757637"/>
                <a:ext cx="142950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688" h="721899" extrusionOk="0">
                    <a:moveTo>
                      <a:pt x="178689" y="618744"/>
                    </a:moveTo>
                    <a:lnTo>
                      <a:pt x="0" y="72190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61874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12"/>
              <p:cNvSpPr/>
              <p:nvPr/>
            </p:nvSpPr>
            <p:spPr>
              <a:xfrm>
                <a:off x="3975528" y="43347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12"/>
              <p:cNvSpPr/>
              <p:nvPr/>
            </p:nvSpPr>
            <p:spPr>
              <a:xfrm>
                <a:off x="4027311" y="40671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156"/>
                    </a:lnTo>
                    <a:lnTo>
                      <a:pt x="178689" y="0"/>
                    </a:lnTo>
                    <a:lnTo>
                      <a:pt x="357473" y="103156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316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318;p12"/>
              <p:cNvSpPr/>
              <p:nvPr/>
            </p:nvSpPr>
            <p:spPr>
              <a:xfrm>
                <a:off x="4170249" y="4149670"/>
                <a:ext cx="142951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399097" extrusionOk="0">
                    <a:moveTo>
                      <a:pt x="178689" y="295846"/>
                    </a:moveTo>
                    <a:lnTo>
                      <a:pt x="0" y="399098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29584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12"/>
              <p:cNvSpPr/>
              <p:nvPr/>
            </p:nvSpPr>
            <p:spPr>
              <a:xfrm>
                <a:off x="4359514" y="3443605"/>
                <a:ext cx="123401" cy="242674"/>
              </a:xfrm>
              <a:custGeom>
                <a:avLst/>
                <a:gdLst/>
                <a:ahLst/>
                <a:cxnLst/>
                <a:rect l="l" t="t" r="r" b="b"/>
                <a:pathLst>
                  <a:path w="154251" h="303342" extrusionOk="0">
                    <a:moveTo>
                      <a:pt x="65595" y="234575"/>
                    </a:moveTo>
                    <a:cubicBezTo>
                      <a:pt x="79310" y="258921"/>
                      <a:pt x="95907" y="281534"/>
                      <a:pt x="115030" y="301917"/>
                    </a:cubicBezTo>
                    <a:cubicBezTo>
                      <a:pt x="120364" y="308108"/>
                      <a:pt x="161512" y="292392"/>
                      <a:pt x="153130" y="288010"/>
                    </a:cubicBezTo>
                    <a:cubicBezTo>
                      <a:pt x="144747" y="283629"/>
                      <a:pt x="117601" y="246005"/>
                      <a:pt x="104171" y="221335"/>
                    </a:cubicBezTo>
                    <a:cubicBezTo>
                      <a:pt x="92896" y="191398"/>
                      <a:pt x="83356" y="160833"/>
                      <a:pt x="75596" y="129800"/>
                    </a:cubicBezTo>
                    <a:cubicBezTo>
                      <a:pt x="67119" y="99225"/>
                      <a:pt x="59880" y="54267"/>
                      <a:pt x="53689" y="33121"/>
                    </a:cubicBezTo>
                    <a:cubicBezTo>
                      <a:pt x="50377" y="17186"/>
                      <a:pt x="38044" y="4670"/>
                      <a:pt x="22161" y="1117"/>
                    </a:cubicBezTo>
                    <a:cubicBezTo>
                      <a:pt x="7397" y="-2312"/>
                      <a:pt x="-2223" y="1689"/>
                      <a:pt x="444" y="19596"/>
                    </a:cubicBezTo>
                    <a:cubicBezTo>
                      <a:pt x="4730" y="50743"/>
                      <a:pt x="29305" y="172853"/>
                      <a:pt x="65595" y="234575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12"/>
              <p:cNvSpPr/>
              <p:nvPr/>
            </p:nvSpPr>
            <p:spPr>
              <a:xfrm>
                <a:off x="4386191" y="4013507"/>
                <a:ext cx="85270" cy="65855"/>
              </a:xfrm>
              <a:custGeom>
                <a:avLst/>
                <a:gdLst/>
                <a:ahLst/>
                <a:cxnLst/>
                <a:rect l="l" t="t" r="r" b="b"/>
                <a:pathLst>
                  <a:path w="106588" h="82319" extrusionOk="0">
                    <a:moveTo>
                      <a:pt x="8606" y="2"/>
                    </a:moveTo>
                    <a:cubicBezTo>
                      <a:pt x="21369" y="10385"/>
                      <a:pt x="40229" y="860"/>
                      <a:pt x="41181" y="1812"/>
                    </a:cubicBezTo>
                    <a:cubicBezTo>
                      <a:pt x="56119" y="15766"/>
                      <a:pt x="71828" y="28863"/>
                      <a:pt x="88235" y="41055"/>
                    </a:cubicBezTo>
                    <a:cubicBezTo>
                      <a:pt x="96141" y="47246"/>
                      <a:pt x="108523" y="55628"/>
                      <a:pt x="106332" y="67630"/>
                    </a:cubicBezTo>
                    <a:cubicBezTo>
                      <a:pt x="102332" y="89156"/>
                      <a:pt x="68232" y="82489"/>
                      <a:pt x="54897" y="75917"/>
                    </a:cubicBezTo>
                    <a:cubicBezTo>
                      <a:pt x="41562" y="69344"/>
                      <a:pt x="31371" y="58486"/>
                      <a:pt x="19083" y="50866"/>
                    </a:cubicBezTo>
                    <a:cubicBezTo>
                      <a:pt x="10320" y="45437"/>
                      <a:pt x="1653" y="42579"/>
                      <a:pt x="33" y="31816"/>
                    </a:cubicBezTo>
                    <a:cubicBezTo>
                      <a:pt x="-538" y="25244"/>
                      <a:pt x="6415" y="-283"/>
                      <a:pt x="8606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12"/>
              <p:cNvSpPr/>
              <p:nvPr/>
            </p:nvSpPr>
            <p:spPr>
              <a:xfrm>
                <a:off x="4386358" y="4035136"/>
                <a:ext cx="84898" cy="44294"/>
              </a:xfrm>
              <a:custGeom>
                <a:avLst/>
                <a:gdLst/>
                <a:ahLst/>
                <a:cxnLst/>
                <a:rect l="l" t="t" r="r" b="b"/>
                <a:pathLst>
                  <a:path w="106123" h="55368" extrusionOk="0">
                    <a:moveTo>
                      <a:pt x="301" y="0"/>
                    </a:moveTo>
                    <a:cubicBezTo>
                      <a:pt x="1920" y="10668"/>
                      <a:pt x="10492" y="13525"/>
                      <a:pt x="19351" y="19050"/>
                    </a:cubicBezTo>
                    <a:cubicBezTo>
                      <a:pt x="31828" y="26765"/>
                      <a:pt x="42782" y="38100"/>
                      <a:pt x="55831" y="44577"/>
                    </a:cubicBezTo>
                    <a:cubicBezTo>
                      <a:pt x="68881" y="51054"/>
                      <a:pt x="97646" y="56674"/>
                      <a:pt x="106123" y="41338"/>
                    </a:cubicBezTo>
                    <a:cubicBezTo>
                      <a:pt x="101551" y="62008"/>
                      <a:pt x="68023" y="55531"/>
                      <a:pt x="54879" y="48958"/>
                    </a:cubicBezTo>
                    <a:cubicBezTo>
                      <a:pt x="41734" y="42386"/>
                      <a:pt x="31352" y="31528"/>
                      <a:pt x="19065" y="23908"/>
                    </a:cubicBezTo>
                    <a:cubicBezTo>
                      <a:pt x="10302" y="18479"/>
                      <a:pt x="1634" y="15621"/>
                      <a:pt x="15" y="4858"/>
                    </a:cubicBezTo>
                    <a:cubicBezTo>
                      <a:pt x="-40" y="3229"/>
                      <a:pt x="56" y="1610"/>
                      <a:pt x="30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12"/>
              <p:cNvSpPr/>
              <p:nvPr/>
            </p:nvSpPr>
            <p:spPr>
              <a:xfrm>
                <a:off x="4488338" y="3953912"/>
                <a:ext cx="85261" cy="63613"/>
              </a:xfrm>
              <a:custGeom>
                <a:avLst/>
                <a:gdLst/>
                <a:ahLst/>
                <a:cxnLst/>
                <a:rect l="l" t="t" r="r" b="b"/>
                <a:pathLst>
                  <a:path w="106576" h="79516" extrusionOk="0">
                    <a:moveTo>
                      <a:pt x="10192" y="58"/>
                    </a:moveTo>
                    <a:cubicBezTo>
                      <a:pt x="22955" y="10440"/>
                      <a:pt x="45244" y="-895"/>
                      <a:pt x="46196" y="58"/>
                    </a:cubicBezTo>
                    <a:cubicBezTo>
                      <a:pt x="59433" y="13574"/>
                      <a:pt x="73460" y="26299"/>
                      <a:pt x="88202" y="38158"/>
                    </a:cubicBezTo>
                    <a:cubicBezTo>
                      <a:pt x="96202" y="44444"/>
                      <a:pt x="108585" y="52826"/>
                      <a:pt x="106299" y="64828"/>
                    </a:cubicBezTo>
                    <a:cubicBezTo>
                      <a:pt x="102298" y="86354"/>
                      <a:pt x="68199" y="79687"/>
                      <a:pt x="54959" y="73114"/>
                    </a:cubicBezTo>
                    <a:cubicBezTo>
                      <a:pt x="41719" y="66542"/>
                      <a:pt x="31337" y="55684"/>
                      <a:pt x="19050" y="48064"/>
                    </a:cubicBezTo>
                    <a:cubicBezTo>
                      <a:pt x="10287" y="42634"/>
                      <a:pt x="1715" y="39777"/>
                      <a:pt x="0" y="29014"/>
                    </a:cubicBezTo>
                    <a:cubicBezTo>
                      <a:pt x="721" y="18622"/>
                      <a:pt x="4243" y="8611"/>
                      <a:pt x="10192" y="58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" name="Google Shape;323;p12"/>
              <p:cNvSpPr/>
              <p:nvPr/>
            </p:nvSpPr>
            <p:spPr>
              <a:xfrm>
                <a:off x="4488682" y="3974367"/>
                <a:ext cx="84923" cy="44256"/>
              </a:xfrm>
              <a:custGeom>
                <a:avLst/>
                <a:gdLst/>
                <a:ahLst/>
                <a:cxnLst/>
                <a:rect l="l" t="t" r="r" b="b"/>
                <a:pathLst>
                  <a:path w="106154" h="55320" extrusionOk="0">
                    <a:moveTo>
                      <a:pt x="331" y="0"/>
                    </a:moveTo>
                    <a:cubicBezTo>
                      <a:pt x="1951" y="10573"/>
                      <a:pt x="10523" y="13525"/>
                      <a:pt x="19381" y="19050"/>
                    </a:cubicBezTo>
                    <a:cubicBezTo>
                      <a:pt x="31859" y="26765"/>
                      <a:pt x="42813" y="38100"/>
                      <a:pt x="55767" y="44482"/>
                    </a:cubicBezTo>
                    <a:cubicBezTo>
                      <a:pt x="68721" y="50863"/>
                      <a:pt x="97677" y="56578"/>
                      <a:pt x="106154" y="41243"/>
                    </a:cubicBezTo>
                    <a:cubicBezTo>
                      <a:pt x="101582" y="62008"/>
                      <a:pt x="68054" y="55435"/>
                      <a:pt x="54910" y="48958"/>
                    </a:cubicBezTo>
                    <a:cubicBezTo>
                      <a:pt x="41765" y="42481"/>
                      <a:pt x="31383" y="31528"/>
                      <a:pt x="19096" y="23908"/>
                    </a:cubicBezTo>
                    <a:cubicBezTo>
                      <a:pt x="10333" y="18478"/>
                      <a:pt x="1665" y="15621"/>
                      <a:pt x="46" y="4858"/>
                    </a:cubicBezTo>
                    <a:cubicBezTo>
                      <a:pt x="-67" y="3229"/>
                      <a:pt x="28" y="1600"/>
                      <a:pt x="33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" name="Google Shape;324;p12"/>
              <p:cNvSpPr/>
              <p:nvPr/>
            </p:nvSpPr>
            <p:spPr>
              <a:xfrm>
                <a:off x="4254514" y="3662153"/>
                <a:ext cx="298029" cy="360530"/>
              </a:xfrm>
              <a:custGeom>
                <a:avLst/>
                <a:gdLst/>
                <a:ahLst/>
                <a:cxnLst/>
                <a:rect l="l" t="t" r="r" b="b"/>
                <a:pathLst>
                  <a:path w="372536" h="450662" extrusionOk="0">
                    <a:moveTo>
                      <a:pt x="2903" y="30848"/>
                    </a:moveTo>
                    <a:cubicBezTo>
                      <a:pt x="-11194" y="119145"/>
                      <a:pt x="27954" y="152006"/>
                      <a:pt x="79103" y="170865"/>
                    </a:cubicBezTo>
                    <a:cubicBezTo>
                      <a:pt x="115679" y="184296"/>
                      <a:pt x="168162" y="205060"/>
                      <a:pt x="168162" y="205060"/>
                    </a:cubicBezTo>
                    <a:cubicBezTo>
                      <a:pt x="168162" y="205060"/>
                      <a:pt x="167400" y="224110"/>
                      <a:pt x="167019" y="267925"/>
                    </a:cubicBezTo>
                    <a:cubicBezTo>
                      <a:pt x="167019" y="306025"/>
                      <a:pt x="171686" y="445947"/>
                      <a:pt x="171686" y="445947"/>
                    </a:cubicBezTo>
                    <a:cubicBezTo>
                      <a:pt x="183944" y="452234"/>
                      <a:pt x="198481" y="452234"/>
                      <a:pt x="210739" y="445947"/>
                    </a:cubicBezTo>
                    <a:cubicBezTo>
                      <a:pt x="210739" y="445947"/>
                      <a:pt x="231313" y="338886"/>
                      <a:pt x="235694" y="290595"/>
                    </a:cubicBezTo>
                    <a:cubicBezTo>
                      <a:pt x="241600" y="225063"/>
                      <a:pt x="251601" y="182200"/>
                      <a:pt x="248267" y="168103"/>
                    </a:cubicBezTo>
                    <a:cubicBezTo>
                      <a:pt x="245314" y="155721"/>
                      <a:pt x="173782" y="120478"/>
                      <a:pt x="151017" y="101428"/>
                    </a:cubicBezTo>
                    <a:lnTo>
                      <a:pt x="301036" y="151720"/>
                    </a:lnTo>
                    <a:cubicBezTo>
                      <a:pt x="298036" y="167932"/>
                      <a:pt x="296538" y="184381"/>
                      <a:pt x="296559" y="200869"/>
                    </a:cubicBezTo>
                    <a:cubicBezTo>
                      <a:pt x="297892" y="252780"/>
                      <a:pt x="300845" y="365271"/>
                      <a:pt x="300845" y="365271"/>
                    </a:cubicBezTo>
                    <a:cubicBezTo>
                      <a:pt x="300845" y="365271"/>
                      <a:pt x="321419" y="380130"/>
                      <a:pt x="338945" y="365271"/>
                    </a:cubicBezTo>
                    <a:cubicBezTo>
                      <a:pt x="338945" y="365271"/>
                      <a:pt x="377045" y="142576"/>
                      <a:pt x="372092" y="113144"/>
                    </a:cubicBezTo>
                    <a:cubicBezTo>
                      <a:pt x="367711" y="85140"/>
                      <a:pt x="235599" y="27990"/>
                      <a:pt x="212263" y="8369"/>
                    </a:cubicBezTo>
                    <a:cubicBezTo>
                      <a:pt x="204058" y="1673"/>
                      <a:pt x="193384" y="-1204"/>
                      <a:pt x="182926" y="463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12"/>
              <p:cNvSpPr/>
              <p:nvPr/>
            </p:nvSpPr>
            <p:spPr>
              <a:xfrm>
                <a:off x="4279346" y="3421120"/>
                <a:ext cx="93728" cy="91216"/>
              </a:xfrm>
              <a:custGeom>
                <a:avLst/>
                <a:gdLst/>
                <a:ahLst/>
                <a:cxnLst/>
                <a:rect l="l" t="t" r="r" b="b"/>
                <a:pathLst>
                  <a:path w="117160" h="114020" extrusionOk="0">
                    <a:moveTo>
                      <a:pt x="24041" y="0"/>
                    </a:moveTo>
                    <a:cubicBezTo>
                      <a:pt x="24041" y="0"/>
                      <a:pt x="26232" y="42101"/>
                      <a:pt x="25279" y="45815"/>
                    </a:cubicBezTo>
                    <a:cubicBezTo>
                      <a:pt x="24327" y="49530"/>
                      <a:pt x="6229" y="61817"/>
                      <a:pt x="609" y="66294"/>
                    </a:cubicBezTo>
                    <a:cubicBezTo>
                      <a:pt x="-5010" y="70771"/>
                      <a:pt x="29661" y="104394"/>
                      <a:pt x="46425" y="112300"/>
                    </a:cubicBezTo>
                    <a:cubicBezTo>
                      <a:pt x="63189" y="120205"/>
                      <a:pt x="116148" y="99727"/>
                      <a:pt x="117100" y="74200"/>
                    </a:cubicBezTo>
                    <a:cubicBezTo>
                      <a:pt x="118053" y="48673"/>
                      <a:pt x="107575" y="26575"/>
                      <a:pt x="99860" y="25146"/>
                    </a:cubicBezTo>
                    <a:cubicBezTo>
                      <a:pt x="92145" y="23717"/>
                      <a:pt x="24041" y="0"/>
                      <a:pt x="24041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" name="Google Shape;326;p12"/>
              <p:cNvSpPr/>
              <p:nvPr/>
            </p:nvSpPr>
            <p:spPr>
              <a:xfrm>
                <a:off x="4254597" y="3433943"/>
                <a:ext cx="151659" cy="296670"/>
              </a:xfrm>
              <a:custGeom>
                <a:avLst/>
                <a:gdLst/>
                <a:ahLst/>
                <a:cxnLst/>
                <a:rect l="l" t="t" r="r" b="b"/>
                <a:pathLst>
                  <a:path w="189574" h="370837" extrusionOk="0">
                    <a:moveTo>
                      <a:pt x="50329" y="37015"/>
                    </a:moveTo>
                    <a:cubicBezTo>
                      <a:pt x="50329" y="37015"/>
                      <a:pt x="80809" y="82450"/>
                      <a:pt x="123386" y="86736"/>
                    </a:cubicBezTo>
                    <a:cubicBezTo>
                      <a:pt x="136816" y="73496"/>
                      <a:pt x="137959" y="26442"/>
                      <a:pt x="119385" y="11393"/>
                    </a:cubicBezTo>
                    <a:cubicBezTo>
                      <a:pt x="119385" y="11393"/>
                      <a:pt x="136530" y="-2323"/>
                      <a:pt x="147960" y="344"/>
                    </a:cubicBezTo>
                    <a:cubicBezTo>
                      <a:pt x="160529" y="7926"/>
                      <a:pt x="169882" y="19861"/>
                      <a:pt x="174249" y="33872"/>
                    </a:cubicBezTo>
                    <a:cubicBezTo>
                      <a:pt x="185150" y="65076"/>
                      <a:pt x="190313" y="97985"/>
                      <a:pt x="189489" y="131027"/>
                    </a:cubicBezTo>
                    <a:cubicBezTo>
                      <a:pt x="188727" y="175604"/>
                      <a:pt x="189489" y="288380"/>
                      <a:pt x="189489" y="288380"/>
                    </a:cubicBezTo>
                    <a:cubicBezTo>
                      <a:pt x="184440" y="315326"/>
                      <a:pt x="168114" y="338824"/>
                      <a:pt x="144626" y="352960"/>
                    </a:cubicBezTo>
                    <a:cubicBezTo>
                      <a:pt x="113965" y="370266"/>
                      <a:pt x="77860" y="375239"/>
                      <a:pt x="43661" y="366866"/>
                    </a:cubicBezTo>
                    <a:cubicBezTo>
                      <a:pt x="26445" y="363208"/>
                      <a:pt x="12392" y="350816"/>
                      <a:pt x="6609" y="334195"/>
                    </a:cubicBezTo>
                    <a:cubicBezTo>
                      <a:pt x="8609" y="302858"/>
                      <a:pt x="20992" y="238945"/>
                      <a:pt x="16134" y="199226"/>
                    </a:cubicBezTo>
                    <a:cubicBezTo>
                      <a:pt x="11276" y="159507"/>
                      <a:pt x="2609" y="130551"/>
                      <a:pt x="418" y="98832"/>
                    </a:cubicBezTo>
                    <a:cubicBezTo>
                      <a:pt x="-1773" y="67114"/>
                      <a:pt x="4609" y="67686"/>
                      <a:pt x="20611" y="56351"/>
                    </a:cubicBezTo>
                    <a:cubicBezTo>
                      <a:pt x="30053" y="49217"/>
                      <a:pt x="39984" y="42759"/>
                      <a:pt x="50329" y="3701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p12"/>
              <p:cNvSpPr/>
              <p:nvPr/>
            </p:nvSpPr>
            <p:spPr>
              <a:xfrm>
                <a:off x="4275867" y="3326707"/>
                <a:ext cx="101092" cy="122957"/>
              </a:xfrm>
              <a:custGeom>
                <a:avLst/>
                <a:gdLst/>
                <a:ahLst/>
                <a:cxnLst/>
                <a:rect l="l" t="t" r="r" b="b"/>
                <a:pathLst>
                  <a:path w="126365" h="153696" extrusionOk="0">
                    <a:moveTo>
                      <a:pt x="123547" y="55607"/>
                    </a:moveTo>
                    <a:lnTo>
                      <a:pt x="123547" y="55607"/>
                    </a:lnTo>
                    <a:cubicBezTo>
                      <a:pt x="118499" y="22936"/>
                      <a:pt x="94972" y="-1543"/>
                      <a:pt x="61349" y="76"/>
                    </a:cubicBezTo>
                    <a:cubicBezTo>
                      <a:pt x="25578" y="2019"/>
                      <a:pt x="-1846" y="32594"/>
                      <a:pt x="97" y="68361"/>
                    </a:cubicBezTo>
                    <a:cubicBezTo>
                      <a:pt x="99" y="68399"/>
                      <a:pt x="101" y="68427"/>
                      <a:pt x="103" y="68465"/>
                    </a:cubicBezTo>
                    <a:cubicBezTo>
                      <a:pt x="1271" y="88611"/>
                      <a:pt x="11858" y="107032"/>
                      <a:pt x="28678" y="118186"/>
                    </a:cubicBezTo>
                    <a:cubicBezTo>
                      <a:pt x="29839" y="123139"/>
                      <a:pt x="31598" y="127940"/>
                      <a:pt x="33917" y="132473"/>
                    </a:cubicBezTo>
                    <a:cubicBezTo>
                      <a:pt x="45728" y="146380"/>
                      <a:pt x="81542" y="155048"/>
                      <a:pt x="92114" y="153524"/>
                    </a:cubicBezTo>
                    <a:cubicBezTo>
                      <a:pt x="104686" y="152400"/>
                      <a:pt x="115295" y="143713"/>
                      <a:pt x="118880" y="131616"/>
                    </a:cubicBezTo>
                    <a:cubicBezTo>
                      <a:pt x="129833" y="105899"/>
                      <a:pt x="126309" y="71609"/>
                      <a:pt x="123547" y="5560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" name="Google Shape;328;p12"/>
              <p:cNvSpPr/>
              <p:nvPr/>
            </p:nvSpPr>
            <p:spPr>
              <a:xfrm>
                <a:off x="4266495" y="3315741"/>
                <a:ext cx="106605" cy="105444"/>
              </a:xfrm>
              <a:custGeom>
                <a:avLst/>
                <a:gdLst/>
                <a:ahLst/>
                <a:cxnLst/>
                <a:rect l="l" t="t" r="r" b="b"/>
                <a:pathLst>
                  <a:path w="133256" h="131805" extrusionOk="0">
                    <a:moveTo>
                      <a:pt x="40114" y="131806"/>
                    </a:moveTo>
                    <a:lnTo>
                      <a:pt x="40114" y="131806"/>
                    </a:lnTo>
                    <a:lnTo>
                      <a:pt x="43162" y="103231"/>
                    </a:lnTo>
                    <a:cubicBezTo>
                      <a:pt x="43162" y="103231"/>
                      <a:pt x="19921" y="43033"/>
                      <a:pt x="74880" y="54653"/>
                    </a:cubicBezTo>
                    <a:cubicBezTo>
                      <a:pt x="111170" y="62273"/>
                      <a:pt x="120314" y="65512"/>
                      <a:pt x="131363" y="41223"/>
                    </a:cubicBezTo>
                    <a:cubicBezTo>
                      <a:pt x="142412" y="16934"/>
                      <a:pt x="103455" y="-5068"/>
                      <a:pt x="57164" y="1028"/>
                    </a:cubicBezTo>
                    <a:cubicBezTo>
                      <a:pt x="24162" y="4533"/>
                      <a:pt x="-666" y="32717"/>
                      <a:pt x="14" y="65893"/>
                    </a:cubicBezTo>
                    <a:cubicBezTo>
                      <a:pt x="1252" y="83895"/>
                      <a:pt x="6014" y="120185"/>
                      <a:pt x="40114" y="131806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12"/>
              <p:cNvSpPr/>
              <p:nvPr/>
            </p:nvSpPr>
            <p:spPr>
              <a:xfrm>
                <a:off x="4373043" y="3434522"/>
                <a:ext cx="49149" cy="71094"/>
              </a:xfrm>
              <a:custGeom>
                <a:avLst/>
                <a:gdLst/>
                <a:ahLst/>
                <a:cxnLst/>
                <a:rect l="l" t="t" r="r" b="b"/>
                <a:pathLst>
                  <a:path w="61436" h="88868" extrusionOk="0">
                    <a:moveTo>
                      <a:pt x="39243" y="88868"/>
                    </a:moveTo>
                    <a:cubicBezTo>
                      <a:pt x="47575" y="88601"/>
                      <a:pt x="55499" y="85192"/>
                      <a:pt x="61436" y="79343"/>
                    </a:cubicBezTo>
                    <a:cubicBezTo>
                      <a:pt x="60198" y="63722"/>
                      <a:pt x="40196" y="4381"/>
                      <a:pt x="0" y="0"/>
                    </a:cubicBezTo>
                    <a:cubicBezTo>
                      <a:pt x="10976" y="7630"/>
                      <a:pt x="19668" y="18098"/>
                      <a:pt x="25146" y="30290"/>
                    </a:cubicBezTo>
                    <a:cubicBezTo>
                      <a:pt x="31347" y="49425"/>
                      <a:pt x="36060" y="69009"/>
                      <a:pt x="39243" y="8886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330" name="Google Shape;330;p12"/>
              <p:cNvGrpSpPr/>
              <p:nvPr/>
            </p:nvGrpSpPr>
            <p:grpSpPr>
              <a:xfrm flipH="1">
                <a:off x="4321768" y="3621401"/>
                <a:ext cx="239005" cy="181217"/>
                <a:chOff x="6621095" y="1452181"/>
                <a:chExt cx="330894" cy="250785"/>
              </a:xfrm>
            </p:grpSpPr>
            <p:sp>
              <p:nvSpPr>
                <p:cNvPr id="331" name="Google Shape;331;p12"/>
                <p:cNvSpPr/>
                <p:nvPr/>
              </p:nvSpPr>
              <p:spPr>
                <a:xfrm>
                  <a:off x="6648789" y="1521520"/>
                  <a:ext cx="303199" cy="174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199" h="174500" extrusionOk="0">
                      <a:moveTo>
                        <a:pt x="0" y="63249"/>
                      </a:moveTo>
                      <a:lnTo>
                        <a:pt x="107878" y="860"/>
                      </a:lnTo>
                      <a:cubicBezTo>
                        <a:pt x="109779" y="-287"/>
                        <a:pt x="112155" y="-287"/>
                        <a:pt x="114056" y="860"/>
                      </a:cubicBezTo>
                      <a:lnTo>
                        <a:pt x="303200" y="110302"/>
                      </a:lnTo>
                      <a:lnTo>
                        <a:pt x="192280" y="17450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2" name="Google Shape;332;p12"/>
                <p:cNvSpPr/>
                <p:nvPr/>
              </p:nvSpPr>
              <p:spPr>
                <a:xfrm>
                  <a:off x="6790409" y="1564671"/>
                  <a:ext cx="79173" cy="45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173" h="45815" extrusionOk="0">
                      <a:moveTo>
                        <a:pt x="79174" y="29242"/>
                      </a:moveTo>
                      <a:lnTo>
                        <a:pt x="50660" y="45815"/>
                      </a:lnTo>
                      <a:lnTo>
                        <a:pt x="0" y="16478"/>
                      </a:lnTo>
                      <a:lnTo>
                        <a:pt x="28514" y="0"/>
                      </a:lnTo>
                      <a:lnTo>
                        <a:pt x="79174" y="29242"/>
                      </a:lnTo>
                      <a:close/>
                    </a:path>
                  </a:pathLst>
                </a:custGeom>
                <a:solidFill>
                  <a:srgbClr val="000000">
                    <a:alpha val="14900"/>
                  </a:srgbClr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3" name="Google Shape;333;p12"/>
                <p:cNvSpPr/>
                <p:nvPr/>
              </p:nvSpPr>
              <p:spPr>
                <a:xfrm>
                  <a:off x="6648780" y="1584674"/>
                  <a:ext cx="303209" cy="118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209" h="118292" extrusionOk="0">
                      <a:moveTo>
                        <a:pt x="303209" y="47149"/>
                      </a:moveTo>
                      <a:lnTo>
                        <a:pt x="303209" y="49721"/>
                      </a:lnTo>
                      <a:cubicBezTo>
                        <a:pt x="303237" y="53440"/>
                        <a:pt x="301279" y="56892"/>
                        <a:pt x="298076" y="58769"/>
                      </a:cubicBezTo>
                      <a:lnTo>
                        <a:pt x="197517" y="116872"/>
                      </a:lnTo>
                      <a:cubicBezTo>
                        <a:pt x="194323" y="118766"/>
                        <a:pt x="190350" y="118766"/>
                        <a:pt x="187157" y="116872"/>
                      </a:cubicBezTo>
                      <a:lnTo>
                        <a:pt x="5237" y="12097"/>
                      </a:lnTo>
                      <a:cubicBezTo>
                        <a:pt x="1863" y="10147"/>
                        <a:pt x="-153" y="6475"/>
                        <a:pt x="9" y="2572"/>
                      </a:cubicBezTo>
                      <a:lnTo>
                        <a:pt x="9" y="0"/>
                      </a:lnTo>
                      <a:lnTo>
                        <a:pt x="192289" y="111252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4" name="Google Shape;334;p12"/>
                <p:cNvSpPr/>
                <p:nvPr/>
              </p:nvSpPr>
              <p:spPr>
                <a:xfrm>
                  <a:off x="6621095" y="1454086"/>
                  <a:ext cx="217122" cy="244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122" h="244320" extrusionOk="0">
                      <a:moveTo>
                        <a:pt x="217123" y="243459"/>
                      </a:moveTo>
                      <a:cubicBezTo>
                        <a:pt x="213644" y="244834"/>
                        <a:pt x="209728" y="244552"/>
                        <a:pt x="206478" y="242697"/>
                      </a:cubicBezTo>
                      <a:lnTo>
                        <a:pt x="25888" y="137922"/>
                      </a:lnTo>
                      <a:cubicBezTo>
                        <a:pt x="22695" y="136081"/>
                        <a:pt x="20499" y="132899"/>
                        <a:pt x="19900" y="129254"/>
                      </a:cubicBezTo>
                      <a:lnTo>
                        <a:pt x="36" y="10763"/>
                      </a:lnTo>
                      <a:cubicBezTo>
                        <a:pt x="-12" y="10097"/>
                        <a:pt x="-12" y="9429"/>
                        <a:pt x="36" y="8763"/>
                      </a:cubicBezTo>
                      <a:cubicBezTo>
                        <a:pt x="26" y="5457"/>
                        <a:pt x="1366" y="2291"/>
                        <a:pt x="3743" y="0"/>
                      </a:cubicBezTo>
                      <a:lnTo>
                        <a:pt x="191935" y="108871"/>
                      </a:lnTo>
                      <a:cubicBezTo>
                        <a:pt x="194226" y="110281"/>
                        <a:pt x="195813" y="112601"/>
                        <a:pt x="196307" y="115252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5" name="Google Shape;335;p12"/>
                <p:cNvSpPr/>
                <p:nvPr/>
              </p:nvSpPr>
              <p:spPr>
                <a:xfrm>
                  <a:off x="6624647" y="1452181"/>
                  <a:ext cx="216421" cy="245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421" h="245364" extrusionOk="0">
                      <a:moveTo>
                        <a:pt x="216422" y="243840"/>
                      </a:moveTo>
                      <a:lnTo>
                        <a:pt x="215186" y="244602"/>
                      </a:lnTo>
                      <a:lnTo>
                        <a:pt x="213570" y="245364"/>
                      </a:lnTo>
                      <a:lnTo>
                        <a:pt x="192090" y="117157"/>
                      </a:lnTo>
                      <a:cubicBezTo>
                        <a:pt x="191596" y="114506"/>
                        <a:pt x="190008" y="112186"/>
                        <a:pt x="187718" y="110776"/>
                      </a:cubicBezTo>
                      <a:lnTo>
                        <a:pt x="0" y="1905"/>
                      </a:lnTo>
                      <a:cubicBezTo>
                        <a:pt x="694" y="1117"/>
                        <a:pt x="1530" y="471"/>
                        <a:pt x="2471" y="0"/>
                      </a:cubicBezTo>
                      <a:lnTo>
                        <a:pt x="191044" y="109061"/>
                      </a:lnTo>
                      <a:cubicBezTo>
                        <a:pt x="193373" y="110453"/>
                        <a:pt x="194998" y="112774"/>
                        <a:pt x="195512" y="115443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36" name="Google Shape;336;p12"/>
              <p:cNvSpPr/>
              <p:nvPr/>
            </p:nvSpPr>
            <p:spPr>
              <a:xfrm>
                <a:off x="4228115" y="3483465"/>
                <a:ext cx="114539" cy="321870"/>
              </a:xfrm>
              <a:custGeom>
                <a:avLst/>
                <a:gdLst/>
                <a:ahLst/>
                <a:cxnLst/>
                <a:rect l="l" t="t" r="r" b="b"/>
                <a:pathLst>
                  <a:path w="143174" h="402337" extrusionOk="0">
                    <a:moveTo>
                      <a:pt x="132316" y="337406"/>
                    </a:moveTo>
                    <a:cubicBezTo>
                      <a:pt x="124650" y="332329"/>
                      <a:pt x="116664" y="327748"/>
                      <a:pt x="108408" y="323690"/>
                    </a:cubicBezTo>
                    <a:cubicBezTo>
                      <a:pt x="100708" y="321280"/>
                      <a:pt x="93712" y="317032"/>
                      <a:pt x="88025" y="311307"/>
                    </a:cubicBezTo>
                    <a:cubicBezTo>
                      <a:pt x="80500" y="303973"/>
                      <a:pt x="68308" y="276255"/>
                      <a:pt x="59450" y="249204"/>
                    </a:cubicBezTo>
                    <a:cubicBezTo>
                      <a:pt x="50616" y="218763"/>
                      <a:pt x="47136" y="187016"/>
                      <a:pt x="49163" y="155383"/>
                    </a:cubicBezTo>
                    <a:cubicBezTo>
                      <a:pt x="52877" y="117283"/>
                      <a:pt x="66498" y="64419"/>
                      <a:pt x="69927" y="42607"/>
                    </a:cubicBezTo>
                    <a:cubicBezTo>
                      <a:pt x="73356" y="20795"/>
                      <a:pt x="66403" y="12127"/>
                      <a:pt x="56211" y="4507"/>
                    </a:cubicBezTo>
                    <a:cubicBezTo>
                      <a:pt x="44305" y="-5018"/>
                      <a:pt x="27636" y="-732"/>
                      <a:pt x="19064" y="29844"/>
                    </a:cubicBezTo>
                    <a:cubicBezTo>
                      <a:pt x="7948" y="72154"/>
                      <a:pt x="1559" y="115569"/>
                      <a:pt x="14" y="159288"/>
                    </a:cubicBezTo>
                    <a:cubicBezTo>
                      <a:pt x="-297" y="191635"/>
                      <a:pt x="4690" y="223811"/>
                      <a:pt x="14777" y="254538"/>
                    </a:cubicBezTo>
                    <a:cubicBezTo>
                      <a:pt x="23864" y="280970"/>
                      <a:pt x="36113" y="306202"/>
                      <a:pt x="51258" y="329691"/>
                    </a:cubicBezTo>
                    <a:cubicBezTo>
                      <a:pt x="55449" y="336739"/>
                      <a:pt x="56783" y="342930"/>
                      <a:pt x="63164" y="357313"/>
                    </a:cubicBezTo>
                    <a:cubicBezTo>
                      <a:pt x="69329" y="371772"/>
                      <a:pt x="78905" y="384517"/>
                      <a:pt x="91073" y="394461"/>
                    </a:cubicBezTo>
                    <a:cubicBezTo>
                      <a:pt x="101836" y="402176"/>
                      <a:pt x="106884" y="403224"/>
                      <a:pt x="109361" y="401795"/>
                    </a:cubicBezTo>
                    <a:cubicBezTo>
                      <a:pt x="111837" y="400366"/>
                      <a:pt x="111837" y="396461"/>
                      <a:pt x="107360" y="392270"/>
                    </a:cubicBezTo>
                    <a:cubicBezTo>
                      <a:pt x="99783" y="386317"/>
                      <a:pt x="93331" y="379059"/>
                      <a:pt x="88310" y="370839"/>
                    </a:cubicBezTo>
                    <a:cubicBezTo>
                      <a:pt x="88310" y="370839"/>
                      <a:pt x="97835" y="380364"/>
                      <a:pt x="103836" y="385412"/>
                    </a:cubicBezTo>
                    <a:cubicBezTo>
                      <a:pt x="109247" y="389955"/>
                      <a:pt x="115237" y="393775"/>
                      <a:pt x="121648" y="396747"/>
                    </a:cubicBezTo>
                    <a:cubicBezTo>
                      <a:pt x="127934" y="399509"/>
                      <a:pt x="136602" y="394175"/>
                      <a:pt x="132125" y="389984"/>
                    </a:cubicBezTo>
                    <a:cubicBezTo>
                      <a:pt x="127649" y="385793"/>
                      <a:pt x="123172" y="383697"/>
                      <a:pt x="114314" y="375982"/>
                    </a:cubicBezTo>
                    <a:cubicBezTo>
                      <a:pt x="109302" y="372067"/>
                      <a:pt x="104818" y="367524"/>
                      <a:pt x="100979" y="362457"/>
                    </a:cubicBezTo>
                    <a:cubicBezTo>
                      <a:pt x="107247" y="367238"/>
                      <a:pt x="113870" y="371534"/>
                      <a:pt x="120791" y="375315"/>
                    </a:cubicBezTo>
                    <a:cubicBezTo>
                      <a:pt x="126215" y="378592"/>
                      <a:pt x="132455" y="380278"/>
                      <a:pt x="138793" y="380173"/>
                    </a:cubicBezTo>
                    <a:cubicBezTo>
                      <a:pt x="142127" y="380173"/>
                      <a:pt x="146127" y="375411"/>
                      <a:pt x="139936" y="370648"/>
                    </a:cubicBezTo>
                    <a:cubicBezTo>
                      <a:pt x="131572" y="366295"/>
                      <a:pt x="123741" y="360990"/>
                      <a:pt x="116600" y="354837"/>
                    </a:cubicBezTo>
                    <a:cubicBezTo>
                      <a:pt x="109742" y="347979"/>
                      <a:pt x="105932" y="342264"/>
                      <a:pt x="107837" y="342168"/>
                    </a:cubicBezTo>
                    <a:cubicBezTo>
                      <a:pt x="109742" y="342073"/>
                      <a:pt x="113456" y="346264"/>
                      <a:pt x="121457" y="348836"/>
                    </a:cubicBezTo>
                    <a:cubicBezTo>
                      <a:pt x="129458" y="351408"/>
                      <a:pt x="138031" y="348836"/>
                      <a:pt x="139079" y="344645"/>
                    </a:cubicBezTo>
                    <a:cubicBezTo>
                      <a:pt x="140126" y="340454"/>
                      <a:pt x="139841" y="341121"/>
                      <a:pt x="132316" y="337406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7" name="Google Shape;337;p12"/>
              <p:cNvSpPr/>
              <p:nvPr/>
            </p:nvSpPr>
            <p:spPr>
              <a:xfrm>
                <a:off x="4223328" y="3479828"/>
                <a:ext cx="66218" cy="90245"/>
              </a:xfrm>
              <a:custGeom>
                <a:avLst/>
                <a:gdLst/>
                <a:ahLst/>
                <a:cxnLst/>
                <a:rect l="l" t="t" r="r" b="b"/>
                <a:pathLst>
                  <a:path w="82772" h="112806" extrusionOk="0">
                    <a:moveTo>
                      <a:pt x="0" y="90018"/>
                    </a:moveTo>
                    <a:cubicBezTo>
                      <a:pt x="0" y="90018"/>
                      <a:pt x="30004" y="119831"/>
                      <a:pt x="65532" y="111258"/>
                    </a:cubicBezTo>
                    <a:cubicBezTo>
                      <a:pt x="70580" y="107829"/>
                      <a:pt x="82772" y="38106"/>
                      <a:pt x="82772" y="38106"/>
                    </a:cubicBezTo>
                    <a:cubicBezTo>
                      <a:pt x="82772" y="38106"/>
                      <a:pt x="82772" y="-565"/>
                      <a:pt x="53149" y="6"/>
                    </a:cubicBezTo>
                    <a:cubicBezTo>
                      <a:pt x="23527" y="578"/>
                      <a:pt x="0" y="90018"/>
                      <a:pt x="0" y="9001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8" name="Google Shape;338;p1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Science </a:t>
            </a:r>
            <a:br>
              <a:rPr lang="en" dirty="0"/>
            </a:br>
            <a:r>
              <a:rPr lang="en" dirty="0"/>
              <a:t>Jobs Market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B6CABC-B453-4F0C-8CA0-3505D81BCBC5}"/>
              </a:ext>
            </a:extLst>
          </p:cNvPr>
          <p:cNvSpPr txBox="1"/>
          <p:nvPr/>
        </p:nvSpPr>
        <p:spPr>
          <a:xfrm>
            <a:off x="1076325" y="3327342"/>
            <a:ext cx="36908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dirty="0"/>
              <a:t>United States, Canada, United Kingdom, Australia</a:t>
            </a:r>
            <a:endParaRPr lang="en-CA" dirty="0"/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1A88F0E3-E073-41A5-B7B0-C0DD2E266F66}"/>
              </a:ext>
            </a:extLst>
          </p:cNvPr>
          <p:cNvSpPr txBox="1"/>
          <p:nvPr/>
        </p:nvSpPr>
        <p:spPr>
          <a:xfrm>
            <a:off x="1076325" y="3608395"/>
            <a:ext cx="36908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i="1" dirty="0"/>
              <a:t>Presenters: May Ang, Kelvin Deng, </a:t>
            </a:r>
            <a:r>
              <a:rPr lang="en-CA" sz="800" i="1" dirty="0" err="1"/>
              <a:t>Yijing</a:t>
            </a:r>
            <a:r>
              <a:rPr lang="en-CA" sz="800" i="1" dirty="0"/>
              <a:t> </a:t>
            </a:r>
            <a:r>
              <a:rPr lang="en-CA" sz="800" i="1" dirty="0" err="1"/>
              <a:t>Su</a:t>
            </a:r>
            <a:r>
              <a:rPr lang="en-CA" sz="800" i="1" dirty="0"/>
              <a:t>, Thao Hoang</a:t>
            </a:r>
          </a:p>
          <a:p>
            <a:r>
              <a:rPr lang="en-CA" sz="800" i="1" dirty="0"/>
              <a:t>Date: Feb 18, 2021</a:t>
            </a:r>
            <a:endParaRPr lang="en-CA" sz="1000" i="1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p21"/>
          <p:cNvSpPr txBox="1">
            <a:spLocks noGrp="1"/>
          </p:cNvSpPr>
          <p:nvPr>
            <p:ph type="title"/>
          </p:nvPr>
        </p:nvSpPr>
        <p:spPr>
          <a:xfrm>
            <a:off x="457200" y="681800"/>
            <a:ext cx="36672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/>
              <a:t>The loaded</a:t>
            </a:r>
            <a:br>
              <a:rPr lang="en" sz="2000" dirty="0"/>
            </a:br>
            <a:r>
              <a:rPr lang="en" sz="2000" dirty="0"/>
              <a:t>database</a:t>
            </a:r>
            <a:endParaRPr sz="2000" dirty="0"/>
          </a:p>
        </p:txBody>
      </p:sp>
      <p:sp>
        <p:nvSpPr>
          <p:cNvPr id="1009" name="Google Shape;1009;p2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0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8A2F9D-7EF0-47C9-8717-57997AC2B4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8606" y="1531407"/>
            <a:ext cx="2232946" cy="2640900"/>
          </a:xfrm>
        </p:spPr>
        <p:txBody>
          <a:bodyPr/>
          <a:lstStyle/>
          <a:p>
            <a:r>
              <a:rPr lang="en-CA" sz="1600" dirty="0"/>
              <a:t>Four relational tables in the SQL Elephant Database</a:t>
            </a:r>
          </a:p>
          <a:p>
            <a:endParaRPr lang="en-CA" sz="1600" dirty="0"/>
          </a:p>
          <a:p>
            <a:r>
              <a:rPr lang="en-CA" sz="1600" dirty="0"/>
              <a:t>Each with unique key for merging purposes during querying process</a:t>
            </a:r>
          </a:p>
        </p:txBody>
      </p:sp>
      <p:pic>
        <p:nvPicPr>
          <p:cNvPr id="8" name="Picture 7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4166A587-82EE-4D7E-999F-D497863AAE1C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8" b="3193"/>
          <a:stretch/>
        </p:blipFill>
        <p:spPr>
          <a:xfrm>
            <a:off x="2628900" y="153681"/>
            <a:ext cx="6515100" cy="4825574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49" y="2031025"/>
            <a:ext cx="4991137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Creation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33780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querying from database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Charts cre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3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408" name="Google Shape;408;p15"/>
          <p:cNvGrpSpPr/>
          <p:nvPr/>
        </p:nvGrpSpPr>
        <p:grpSpPr>
          <a:xfrm>
            <a:off x="6076986" y="1569719"/>
            <a:ext cx="2912252" cy="2615649"/>
            <a:chOff x="2270525" y="117216"/>
            <a:chExt cx="4650765" cy="4762722"/>
          </a:xfrm>
        </p:grpSpPr>
        <p:sp>
          <p:nvSpPr>
            <p:cNvPr id="409" name="Google Shape;409;p15"/>
            <p:cNvSpPr/>
            <p:nvPr/>
          </p:nvSpPr>
          <p:spPr>
            <a:xfrm>
              <a:off x="2270525" y="2788917"/>
              <a:ext cx="1367464" cy="791146"/>
            </a:xfrm>
            <a:custGeom>
              <a:avLst/>
              <a:gdLst/>
              <a:ahLst/>
              <a:cxnLst/>
              <a:rect l="l" t="t" r="r" b="b"/>
              <a:pathLst>
                <a:path w="1367464" h="791146" extrusionOk="0">
                  <a:moveTo>
                    <a:pt x="1367464" y="395573"/>
                  </a:moveTo>
                  <a:cubicBezTo>
                    <a:pt x="1367464" y="614042"/>
                    <a:pt x="1061347" y="791146"/>
                    <a:pt x="683732" y="791146"/>
                  </a:cubicBezTo>
                  <a:cubicBezTo>
                    <a:pt x="306117" y="791146"/>
                    <a:pt x="0" y="614042"/>
                    <a:pt x="0" y="395573"/>
                  </a:cubicBezTo>
                  <a:cubicBezTo>
                    <a:pt x="0" y="177104"/>
                    <a:pt x="306117" y="0"/>
                    <a:pt x="683732" y="0"/>
                  </a:cubicBezTo>
                  <a:cubicBezTo>
                    <a:pt x="1061347" y="0"/>
                    <a:pt x="1367464" y="177104"/>
                    <a:pt x="1367464" y="395573"/>
                  </a:cubicBezTo>
                  <a:close/>
                </a:path>
              </a:pathLst>
            </a:custGeom>
            <a:solidFill>
              <a:srgbClr val="D6D8E5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15"/>
            <p:cNvSpPr/>
            <p:nvPr/>
          </p:nvSpPr>
          <p:spPr>
            <a:xfrm>
              <a:off x="2565006" y="2921600"/>
              <a:ext cx="762723" cy="441198"/>
            </a:xfrm>
            <a:custGeom>
              <a:avLst/>
              <a:gdLst/>
              <a:ahLst/>
              <a:cxnLst/>
              <a:rect l="l" t="t" r="r" b="b"/>
              <a:pathLst>
                <a:path w="762723" h="441198" extrusionOk="0">
                  <a:moveTo>
                    <a:pt x="762723" y="220599"/>
                  </a:moveTo>
                  <a:cubicBezTo>
                    <a:pt x="762723" y="342432"/>
                    <a:pt x="591982" y="441198"/>
                    <a:pt x="381362" y="441198"/>
                  </a:cubicBezTo>
                  <a:cubicBezTo>
                    <a:pt x="170741" y="441198"/>
                    <a:pt x="0" y="342432"/>
                    <a:pt x="0" y="220599"/>
                  </a:cubicBezTo>
                  <a:cubicBezTo>
                    <a:pt x="0" y="98765"/>
                    <a:pt x="170741" y="0"/>
                    <a:pt x="381362" y="0"/>
                  </a:cubicBezTo>
                  <a:cubicBezTo>
                    <a:pt x="591982" y="0"/>
                    <a:pt x="762723" y="98765"/>
                    <a:pt x="762723" y="220599"/>
                  </a:cubicBezTo>
                  <a:close/>
                </a:path>
              </a:pathLst>
            </a:custGeom>
            <a:solidFill>
              <a:srgbClr val="EDEFF9">
                <a:alpha val="4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15"/>
            <p:cNvSpPr/>
            <p:nvPr/>
          </p:nvSpPr>
          <p:spPr>
            <a:xfrm>
              <a:off x="2834012" y="3000943"/>
              <a:ext cx="217486" cy="125920"/>
            </a:xfrm>
            <a:custGeom>
              <a:avLst/>
              <a:gdLst/>
              <a:ahLst/>
              <a:cxnLst/>
              <a:rect l="l" t="t" r="r" b="b"/>
              <a:pathLst>
                <a:path w="217486" h="125920" extrusionOk="0">
                  <a:moveTo>
                    <a:pt x="217486" y="62960"/>
                  </a:moveTo>
                  <a:cubicBezTo>
                    <a:pt x="217486" y="97732"/>
                    <a:pt x="168800" y="125920"/>
                    <a:pt x="108743" y="125920"/>
                  </a:cubicBezTo>
                  <a:cubicBezTo>
                    <a:pt x="48686" y="125920"/>
                    <a:pt x="0" y="97732"/>
                    <a:pt x="0" y="62960"/>
                  </a:cubicBezTo>
                  <a:cubicBezTo>
                    <a:pt x="0" y="28188"/>
                    <a:pt x="48686" y="0"/>
                    <a:pt x="108743" y="0"/>
                  </a:cubicBezTo>
                  <a:cubicBezTo>
                    <a:pt x="168800" y="0"/>
                    <a:pt x="217486" y="28188"/>
                    <a:pt x="217486" y="62960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15"/>
            <p:cNvSpPr/>
            <p:nvPr/>
          </p:nvSpPr>
          <p:spPr>
            <a:xfrm>
              <a:off x="2841806" y="2229228"/>
              <a:ext cx="209121" cy="823531"/>
            </a:xfrm>
            <a:custGeom>
              <a:avLst/>
              <a:gdLst/>
              <a:ahLst/>
              <a:cxnLst/>
              <a:rect l="l" t="t" r="r" b="b"/>
              <a:pathLst>
                <a:path w="209121" h="823531" extrusionOk="0">
                  <a:moveTo>
                    <a:pt x="0" y="0"/>
                  </a:moveTo>
                  <a:lnTo>
                    <a:pt x="209121" y="0"/>
                  </a:lnTo>
                  <a:lnTo>
                    <a:pt x="209121" y="823532"/>
                  </a:lnTo>
                  <a:lnTo>
                    <a:pt x="0" y="823532"/>
                  </a:ln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15"/>
            <p:cNvSpPr/>
            <p:nvPr/>
          </p:nvSpPr>
          <p:spPr>
            <a:xfrm>
              <a:off x="2831826" y="2112223"/>
              <a:ext cx="249895" cy="580777"/>
            </a:xfrm>
            <a:custGeom>
              <a:avLst/>
              <a:gdLst/>
              <a:ahLst/>
              <a:cxnLst/>
              <a:rect l="l" t="t" r="r" b="b"/>
              <a:pathLst>
                <a:path w="249895" h="580777" extrusionOk="0">
                  <a:moveTo>
                    <a:pt x="0" y="107670"/>
                  </a:moveTo>
                  <a:cubicBezTo>
                    <a:pt x="0" y="107670"/>
                    <a:pt x="5703" y="277025"/>
                    <a:pt x="125948" y="580777"/>
                  </a:cubicBezTo>
                  <a:cubicBezTo>
                    <a:pt x="125948" y="580777"/>
                    <a:pt x="237923" y="336175"/>
                    <a:pt x="249520" y="102527"/>
                  </a:cubicBezTo>
                  <a:cubicBezTo>
                    <a:pt x="261117" y="-131122"/>
                    <a:pt x="0" y="107670"/>
                    <a:pt x="0" y="107670"/>
                  </a:cubicBez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15"/>
            <p:cNvSpPr/>
            <p:nvPr/>
          </p:nvSpPr>
          <p:spPr>
            <a:xfrm>
              <a:off x="2373659" y="1582290"/>
              <a:ext cx="397711" cy="625506"/>
            </a:xfrm>
            <a:custGeom>
              <a:avLst/>
              <a:gdLst/>
              <a:ahLst/>
              <a:cxnLst/>
              <a:rect l="l" t="t" r="r" b="b"/>
              <a:pathLst>
                <a:path w="397711" h="625506" extrusionOk="0">
                  <a:moveTo>
                    <a:pt x="311306" y="0"/>
                  </a:moveTo>
                  <a:lnTo>
                    <a:pt x="33079" y="271272"/>
                  </a:lnTo>
                  <a:lnTo>
                    <a:pt x="0" y="625507"/>
                  </a:lnTo>
                  <a:lnTo>
                    <a:pt x="336495" y="456438"/>
                  </a:lnTo>
                  <a:lnTo>
                    <a:pt x="397711" y="24384"/>
                  </a:lnTo>
                  <a:lnTo>
                    <a:pt x="3113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15"/>
            <p:cNvSpPr/>
            <p:nvPr/>
          </p:nvSpPr>
          <p:spPr>
            <a:xfrm>
              <a:off x="3144177" y="1582290"/>
              <a:ext cx="397710" cy="625506"/>
            </a:xfrm>
            <a:custGeom>
              <a:avLst/>
              <a:gdLst/>
              <a:ahLst/>
              <a:cxnLst/>
              <a:rect l="l" t="t" r="r" b="b"/>
              <a:pathLst>
                <a:path w="397710" h="625506" extrusionOk="0">
                  <a:moveTo>
                    <a:pt x="86405" y="0"/>
                  </a:moveTo>
                  <a:lnTo>
                    <a:pt x="364537" y="271272"/>
                  </a:lnTo>
                  <a:lnTo>
                    <a:pt x="397711" y="625507"/>
                  </a:lnTo>
                  <a:lnTo>
                    <a:pt x="59980" y="444722"/>
                  </a:lnTo>
                  <a:lnTo>
                    <a:pt x="0" y="24384"/>
                  </a:lnTo>
                  <a:lnTo>
                    <a:pt x="8640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" name="Google Shape;416;p15"/>
            <p:cNvSpPr/>
            <p:nvPr/>
          </p:nvSpPr>
          <p:spPr>
            <a:xfrm>
              <a:off x="2815951" y="2102641"/>
              <a:ext cx="276610" cy="160020"/>
            </a:xfrm>
            <a:custGeom>
              <a:avLst/>
              <a:gdLst/>
              <a:ahLst/>
              <a:cxnLst/>
              <a:rect l="l" t="t" r="r" b="b"/>
              <a:pathLst>
                <a:path w="276610" h="160020" extrusionOk="0">
                  <a:moveTo>
                    <a:pt x="276611" y="80010"/>
                  </a:moveTo>
                  <a:cubicBezTo>
                    <a:pt x="276611" y="124198"/>
                    <a:pt x="214689" y="160020"/>
                    <a:pt x="138305" y="160020"/>
                  </a:cubicBezTo>
                  <a:cubicBezTo>
                    <a:pt x="61921" y="160020"/>
                    <a:pt x="0" y="124198"/>
                    <a:pt x="0" y="80010"/>
                  </a:cubicBezTo>
                  <a:cubicBezTo>
                    <a:pt x="0" y="35822"/>
                    <a:pt x="61921" y="0"/>
                    <a:pt x="138305" y="0"/>
                  </a:cubicBezTo>
                  <a:cubicBezTo>
                    <a:pt x="214689" y="0"/>
                    <a:pt x="276611" y="35822"/>
                    <a:pt x="276611" y="80010"/>
                  </a:cubicBezTo>
                  <a:close/>
                </a:path>
              </a:pathLst>
            </a:custGeom>
            <a:solidFill>
              <a:srgbClr val="42495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7" name="Google Shape;417;p15"/>
            <p:cNvSpPr/>
            <p:nvPr/>
          </p:nvSpPr>
          <p:spPr>
            <a:xfrm>
              <a:off x="2744565" y="2030632"/>
              <a:ext cx="418908" cy="74675"/>
            </a:xfrm>
            <a:custGeom>
              <a:avLst/>
              <a:gdLst/>
              <a:ahLst/>
              <a:cxnLst/>
              <a:rect l="l" t="t" r="r" b="b"/>
              <a:pathLst>
                <a:path w="418908" h="74675" extrusionOk="0">
                  <a:moveTo>
                    <a:pt x="0" y="72009"/>
                  </a:moveTo>
                  <a:lnTo>
                    <a:pt x="0" y="0"/>
                  </a:lnTo>
                  <a:lnTo>
                    <a:pt x="418908" y="0"/>
                  </a:lnTo>
                  <a:lnTo>
                    <a:pt x="418908" y="74676"/>
                  </a:lnTo>
                  <a:lnTo>
                    <a:pt x="0" y="72009"/>
                  </a:lnTo>
                  <a:close/>
                </a:path>
              </a:pathLst>
            </a:custGeom>
            <a:solidFill>
              <a:srgbClr val="4949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15"/>
            <p:cNvSpPr/>
            <p:nvPr/>
          </p:nvSpPr>
          <p:spPr>
            <a:xfrm>
              <a:off x="2744565" y="1981197"/>
              <a:ext cx="419383" cy="242697"/>
            </a:xfrm>
            <a:custGeom>
              <a:avLst/>
              <a:gdLst/>
              <a:ahLst/>
              <a:cxnLst/>
              <a:rect l="l" t="t" r="r" b="b"/>
              <a:pathLst>
                <a:path w="419383" h="242697" extrusionOk="0">
                  <a:moveTo>
                    <a:pt x="419384" y="121348"/>
                  </a:moveTo>
                  <a:cubicBezTo>
                    <a:pt x="419384" y="188367"/>
                    <a:pt x="325501" y="242697"/>
                    <a:pt x="209692" y="242697"/>
                  </a:cubicBezTo>
                  <a:cubicBezTo>
                    <a:pt x="93882" y="242697"/>
                    <a:pt x="0" y="188367"/>
                    <a:pt x="0" y="121348"/>
                  </a:cubicBezTo>
                  <a:cubicBezTo>
                    <a:pt x="0" y="54330"/>
                    <a:pt x="93882" y="0"/>
                    <a:pt x="209692" y="0"/>
                  </a:cubicBezTo>
                  <a:cubicBezTo>
                    <a:pt x="325501" y="0"/>
                    <a:pt x="419384" y="54329"/>
                    <a:pt x="419384" y="12134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5"/>
            <p:cNvSpPr/>
            <p:nvPr/>
          </p:nvSpPr>
          <p:spPr>
            <a:xfrm>
              <a:off x="2697703" y="1845275"/>
              <a:ext cx="511777" cy="296036"/>
            </a:xfrm>
            <a:custGeom>
              <a:avLst/>
              <a:gdLst/>
              <a:ahLst/>
              <a:cxnLst/>
              <a:rect l="l" t="t" r="r" b="b"/>
              <a:pathLst>
                <a:path w="511777" h="296036" extrusionOk="0">
                  <a:moveTo>
                    <a:pt x="511777" y="148019"/>
                  </a:moveTo>
                  <a:cubicBezTo>
                    <a:pt x="511777" y="229767"/>
                    <a:pt x="397212" y="296037"/>
                    <a:pt x="255889" y="296037"/>
                  </a:cubicBezTo>
                  <a:cubicBezTo>
                    <a:pt x="114565" y="296037"/>
                    <a:pt x="0" y="229767"/>
                    <a:pt x="0" y="148019"/>
                  </a:cubicBezTo>
                  <a:cubicBezTo>
                    <a:pt x="0" y="66270"/>
                    <a:pt x="114565" y="0"/>
                    <a:pt x="255889" y="0"/>
                  </a:cubicBezTo>
                  <a:cubicBezTo>
                    <a:pt x="397212" y="0"/>
                    <a:pt x="511777" y="66270"/>
                    <a:pt x="511777" y="148019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" name="Google Shape;420;p15"/>
            <p:cNvSpPr/>
            <p:nvPr/>
          </p:nvSpPr>
          <p:spPr>
            <a:xfrm>
              <a:off x="2681484" y="530635"/>
              <a:ext cx="548516" cy="1538895"/>
            </a:xfrm>
            <a:custGeom>
              <a:avLst/>
              <a:gdLst/>
              <a:ahLst/>
              <a:cxnLst/>
              <a:rect l="l" t="t" r="r" b="b"/>
              <a:pathLst>
                <a:path w="548516" h="1538895" extrusionOk="0">
                  <a:moveTo>
                    <a:pt x="548433" y="1199007"/>
                  </a:moveTo>
                  <a:lnTo>
                    <a:pt x="548433" y="1199007"/>
                  </a:lnTo>
                  <a:cubicBezTo>
                    <a:pt x="548433" y="1210913"/>
                    <a:pt x="548433" y="1222629"/>
                    <a:pt x="548433" y="1233964"/>
                  </a:cubicBezTo>
                  <a:cubicBezTo>
                    <a:pt x="548433" y="1243489"/>
                    <a:pt x="548433" y="1253014"/>
                    <a:pt x="548433" y="1262539"/>
                  </a:cubicBezTo>
                  <a:cubicBezTo>
                    <a:pt x="548433" y="1275398"/>
                    <a:pt x="547767" y="1287685"/>
                    <a:pt x="547292" y="1299686"/>
                  </a:cubicBezTo>
                  <a:cubicBezTo>
                    <a:pt x="547292" y="1314641"/>
                    <a:pt x="546246" y="1328833"/>
                    <a:pt x="545486" y="1342454"/>
                  </a:cubicBezTo>
                  <a:cubicBezTo>
                    <a:pt x="544725" y="1356074"/>
                    <a:pt x="544060" y="1369409"/>
                    <a:pt x="543109" y="1381697"/>
                  </a:cubicBezTo>
                  <a:cubicBezTo>
                    <a:pt x="539212" y="1435513"/>
                    <a:pt x="539307" y="1475137"/>
                    <a:pt x="532653" y="1490662"/>
                  </a:cubicBezTo>
                  <a:cubicBezTo>
                    <a:pt x="496437" y="1575530"/>
                    <a:pt x="373911" y="1528762"/>
                    <a:pt x="313456" y="1498283"/>
                  </a:cubicBezTo>
                  <a:cubicBezTo>
                    <a:pt x="291118" y="1487043"/>
                    <a:pt x="276384" y="1477804"/>
                    <a:pt x="276384" y="1477804"/>
                  </a:cubicBezTo>
                  <a:lnTo>
                    <a:pt x="270871" y="1477804"/>
                  </a:lnTo>
                  <a:cubicBezTo>
                    <a:pt x="270871" y="1477804"/>
                    <a:pt x="253381" y="1487329"/>
                    <a:pt x="227526" y="1497616"/>
                  </a:cubicBezTo>
                  <a:cubicBezTo>
                    <a:pt x="164124" y="1523333"/>
                    <a:pt x="51104" y="1568958"/>
                    <a:pt x="19735" y="1490377"/>
                  </a:cubicBezTo>
                  <a:cubicBezTo>
                    <a:pt x="14127" y="1476280"/>
                    <a:pt x="8519" y="1429703"/>
                    <a:pt x="5097" y="1380935"/>
                  </a:cubicBezTo>
                  <a:cubicBezTo>
                    <a:pt x="4241" y="1368743"/>
                    <a:pt x="3481" y="1355693"/>
                    <a:pt x="2721" y="1341787"/>
                  </a:cubicBezTo>
                  <a:cubicBezTo>
                    <a:pt x="1960" y="1327880"/>
                    <a:pt x="1580" y="1314069"/>
                    <a:pt x="1010" y="1299115"/>
                  </a:cubicBezTo>
                  <a:cubicBezTo>
                    <a:pt x="1010" y="1287208"/>
                    <a:pt x="344" y="1274921"/>
                    <a:pt x="59" y="1262158"/>
                  </a:cubicBezTo>
                  <a:cubicBezTo>
                    <a:pt x="59" y="1252633"/>
                    <a:pt x="59" y="1243108"/>
                    <a:pt x="59" y="1233583"/>
                  </a:cubicBezTo>
                  <a:lnTo>
                    <a:pt x="59" y="1233583"/>
                  </a:lnTo>
                  <a:lnTo>
                    <a:pt x="59" y="1198626"/>
                  </a:lnTo>
                  <a:lnTo>
                    <a:pt x="59" y="1198626"/>
                  </a:lnTo>
                  <a:cubicBezTo>
                    <a:pt x="-1652" y="866299"/>
                    <a:pt x="33518" y="334899"/>
                    <a:pt x="149676" y="108109"/>
                  </a:cubicBezTo>
                  <a:cubicBezTo>
                    <a:pt x="183230" y="42481"/>
                    <a:pt x="223534" y="2381"/>
                    <a:pt x="271727" y="0"/>
                  </a:cubicBezTo>
                  <a:lnTo>
                    <a:pt x="271727" y="0"/>
                  </a:lnTo>
                  <a:lnTo>
                    <a:pt x="277240" y="0"/>
                  </a:lnTo>
                  <a:lnTo>
                    <a:pt x="277240" y="0"/>
                  </a:lnTo>
                  <a:cubicBezTo>
                    <a:pt x="324768" y="2476"/>
                    <a:pt x="365546" y="42386"/>
                    <a:pt x="399196" y="107728"/>
                  </a:cubicBezTo>
                  <a:cubicBezTo>
                    <a:pt x="513737" y="333661"/>
                    <a:pt x="550524" y="862965"/>
                    <a:pt x="548433" y="1199007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15"/>
            <p:cNvSpPr/>
            <p:nvPr/>
          </p:nvSpPr>
          <p:spPr>
            <a:xfrm>
              <a:off x="2858251" y="1222531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9"/>
                    <a:pt x="96671" y="193739"/>
                  </a:cubicBezTo>
                  <a:cubicBezTo>
                    <a:pt x="43281" y="193739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5"/>
            <p:cNvSpPr/>
            <p:nvPr/>
          </p:nvSpPr>
          <p:spPr>
            <a:xfrm>
              <a:off x="2844088" y="1208338"/>
              <a:ext cx="221668" cy="222122"/>
            </a:xfrm>
            <a:custGeom>
              <a:avLst/>
              <a:gdLst/>
              <a:ahLst/>
              <a:cxnLst/>
              <a:rect l="l" t="t" r="r" b="b"/>
              <a:pathLst>
                <a:path w="221668" h="222122" extrusionOk="0">
                  <a:moveTo>
                    <a:pt x="110834" y="222123"/>
                  </a:moveTo>
                  <a:cubicBezTo>
                    <a:pt x="49623" y="222123"/>
                    <a:pt x="0" y="172402"/>
                    <a:pt x="0" y="111061"/>
                  </a:cubicBezTo>
                  <a:cubicBezTo>
                    <a:pt x="0" y="49720"/>
                    <a:pt x="49623" y="0"/>
                    <a:pt x="110834" y="0"/>
                  </a:cubicBezTo>
                  <a:cubicBezTo>
                    <a:pt x="172046" y="0"/>
                    <a:pt x="221669" y="49720"/>
                    <a:pt x="221669" y="111061"/>
                  </a:cubicBezTo>
                  <a:cubicBezTo>
                    <a:pt x="221617" y="172374"/>
                    <a:pt x="172025" y="222066"/>
                    <a:pt x="110834" y="222123"/>
                  </a:cubicBezTo>
                  <a:close/>
                  <a:moveTo>
                    <a:pt x="110834" y="28384"/>
                  </a:moveTo>
                  <a:cubicBezTo>
                    <a:pt x="65267" y="28327"/>
                    <a:pt x="28284" y="65303"/>
                    <a:pt x="28231" y="110966"/>
                  </a:cubicBezTo>
                  <a:cubicBezTo>
                    <a:pt x="28179" y="156629"/>
                    <a:pt x="65077" y="193681"/>
                    <a:pt x="110644" y="193738"/>
                  </a:cubicBezTo>
                  <a:cubicBezTo>
                    <a:pt x="156212" y="193796"/>
                    <a:pt x="193195" y="156820"/>
                    <a:pt x="193247" y="111157"/>
                  </a:cubicBezTo>
                  <a:cubicBezTo>
                    <a:pt x="193247" y="111128"/>
                    <a:pt x="193247" y="111090"/>
                    <a:pt x="193247" y="111061"/>
                  </a:cubicBezTo>
                  <a:cubicBezTo>
                    <a:pt x="193195" y="65456"/>
                    <a:pt x="156343" y="28489"/>
                    <a:pt x="110834" y="28384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15"/>
            <p:cNvSpPr/>
            <p:nvPr/>
          </p:nvSpPr>
          <p:spPr>
            <a:xfrm>
              <a:off x="2858251" y="937733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8"/>
                    <a:pt x="96671" y="193738"/>
                  </a:cubicBezTo>
                  <a:cubicBezTo>
                    <a:pt x="43281" y="193738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Google Shape;424;p15"/>
            <p:cNvSpPr/>
            <p:nvPr/>
          </p:nvSpPr>
          <p:spPr>
            <a:xfrm>
              <a:off x="2843898" y="923636"/>
              <a:ext cx="221858" cy="222313"/>
            </a:xfrm>
            <a:custGeom>
              <a:avLst/>
              <a:gdLst/>
              <a:ahLst/>
              <a:cxnLst/>
              <a:rect l="l" t="t" r="r" b="b"/>
              <a:pathLst>
                <a:path w="221858" h="222313" extrusionOk="0">
                  <a:moveTo>
                    <a:pt x="111025" y="222314"/>
                  </a:moveTo>
                  <a:cubicBezTo>
                    <a:pt x="49760" y="222371"/>
                    <a:pt x="52" y="172641"/>
                    <a:pt x="0" y="111252"/>
                  </a:cubicBezTo>
                  <a:cubicBezTo>
                    <a:pt x="-52" y="49861"/>
                    <a:pt x="49570" y="52"/>
                    <a:pt x="110834" y="0"/>
                  </a:cubicBezTo>
                  <a:cubicBezTo>
                    <a:pt x="172062" y="-52"/>
                    <a:pt x="221754" y="49614"/>
                    <a:pt x="221859" y="110966"/>
                  </a:cubicBezTo>
                  <a:cubicBezTo>
                    <a:pt x="221911" y="172374"/>
                    <a:pt x="172305" y="222209"/>
                    <a:pt x="111025" y="222314"/>
                  </a:cubicBezTo>
                  <a:close/>
                  <a:moveTo>
                    <a:pt x="111025" y="28575"/>
                  </a:moveTo>
                  <a:cubicBezTo>
                    <a:pt x="65457" y="28523"/>
                    <a:pt x="28474" y="65496"/>
                    <a:pt x="28422" y="111157"/>
                  </a:cubicBezTo>
                  <a:cubicBezTo>
                    <a:pt x="28369" y="156820"/>
                    <a:pt x="65267" y="193872"/>
                    <a:pt x="110834" y="193929"/>
                  </a:cubicBezTo>
                  <a:cubicBezTo>
                    <a:pt x="156402" y="193986"/>
                    <a:pt x="193385" y="157010"/>
                    <a:pt x="193437" y="111347"/>
                  </a:cubicBezTo>
                  <a:cubicBezTo>
                    <a:pt x="193437" y="111283"/>
                    <a:pt x="193437" y="111221"/>
                    <a:pt x="193437" y="111157"/>
                  </a:cubicBezTo>
                  <a:cubicBezTo>
                    <a:pt x="193490" y="65496"/>
                    <a:pt x="156592" y="28437"/>
                    <a:pt x="111025" y="28385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5"/>
            <p:cNvSpPr/>
            <p:nvPr/>
          </p:nvSpPr>
          <p:spPr>
            <a:xfrm>
              <a:off x="2680593" y="1921189"/>
              <a:ext cx="549324" cy="167997"/>
            </a:xfrm>
            <a:custGeom>
              <a:avLst/>
              <a:gdLst/>
              <a:ahLst/>
              <a:cxnLst/>
              <a:rect l="l" t="t" r="r" b="b"/>
              <a:pathLst>
                <a:path w="549324" h="167997" extrusionOk="0">
                  <a:moveTo>
                    <a:pt x="549324" y="0"/>
                  </a:moveTo>
                  <a:cubicBezTo>
                    <a:pt x="549324" y="11906"/>
                    <a:pt x="549324" y="23622"/>
                    <a:pt x="549324" y="35052"/>
                  </a:cubicBezTo>
                  <a:cubicBezTo>
                    <a:pt x="539819" y="66484"/>
                    <a:pt x="513964" y="96583"/>
                    <a:pt x="471949" y="120777"/>
                  </a:cubicBezTo>
                  <a:cubicBezTo>
                    <a:pt x="363016" y="183737"/>
                    <a:pt x="186784" y="183737"/>
                    <a:pt x="77375" y="120777"/>
                  </a:cubicBezTo>
                  <a:cubicBezTo>
                    <a:pt x="35361" y="96393"/>
                    <a:pt x="9601" y="66199"/>
                    <a:pt x="0" y="35052"/>
                  </a:cubicBezTo>
                  <a:lnTo>
                    <a:pt x="0" y="35052"/>
                  </a:lnTo>
                  <a:lnTo>
                    <a:pt x="0" y="95"/>
                  </a:lnTo>
                  <a:cubicBezTo>
                    <a:pt x="9506" y="32099"/>
                    <a:pt x="35170" y="62579"/>
                    <a:pt x="77755" y="87249"/>
                  </a:cubicBezTo>
                  <a:cubicBezTo>
                    <a:pt x="186784" y="150209"/>
                    <a:pt x="363396" y="150209"/>
                    <a:pt x="472329" y="87249"/>
                  </a:cubicBezTo>
                  <a:cubicBezTo>
                    <a:pt x="514059" y="62293"/>
                    <a:pt x="540484" y="31909"/>
                    <a:pt x="5493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15"/>
            <p:cNvSpPr/>
            <p:nvPr/>
          </p:nvSpPr>
          <p:spPr>
            <a:xfrm>
              <a:off x="2680308" y="1976244"/>
              <a:ext cx="548753" cy="165782"/>
            </a:xfrm>
            <a:custGeom>
              <a:avLst/>
              <a:gdLst/>
              <a:ahLst/>
              <a:cxnLst/>
              <a:rect l="l" t="t" r="r" b="b"/>
              <a:pathLst>
                <a:path w="548753" h="165782" extrusionOk="0">
                  <a:moveTo>
                    <a:pt x="548754" y="381"/>
                  </a:moveTo>
                  <a:cubicBezTo>
                    <a:pt x="548754" y="13145"/>
                    <a:pt x="548088" y="25527"/>
                    <a:pt x="547613" y="37433"/>
                  </a:cubicBezTo>
                  <a:cubicBezTo>
                    <a:pt x="536967" y="67151"/>
                    <a:pt x="511682" y="95441"/>
                    <a:pt x="471569" y="118491"/>
                  </a:cubicBezTo>
                  <a:cubicBezTo>
                    <a:pt x="362636" y="181546"/>
                    <a:pt x="186403" y="181546"/>
                    <a:pt x="76995" y="118491"/>
                  </a:cubicBezTo>
                  <a:cubicBezTo>
                    <a:pt x="36976" y="95250"/>
                    <a:pt x="11692" y="66770"/>
                    <a:pt x="951" y="36862"/>
                  </a:cubicBezTo>
                  <a:cubicBezTo>
                    <a:pt x="951" y="24955"/>
                    <a:pt x="285" y="12668"/>
                    <a:pt x="0" y="0"/>
                  </a:cubicBezTo>
                  <a:cubicBezTo>
                    <a:pt x="9506" y="31051"/>
                    <a:pt x="35456" y="60579"/>
                    <a:pt x="76900" y="84582"/>
                  </a:cubicBezTo>
                  <a:cubicBezTo>
                    <a:pt x="185928" y="147638"/>
                    <a:pt x="362541" y="147638"/>
                    <a:pt x="471474" y="84582"/>
                  </a:cubicBezTo>
                  <a:cubicBezTo>
                    <a:pt x="513108" y="60674"/>
                    <a:pt x="538773" y="31242"/>
                    <a:pt x="548754" y="3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15"/>
            <p:cNvSpPr/>
            <p:nvPr/>
          </p:nvSpPr>
          <p:spPr>
            <a:xfrm>
              <a:off x="2683349" y="1877470"/>
              <a:ext cx="542765" cy="158087"/>
            </a:xfrm>
            <a:custGeom>
              <a:avLst/>
              <a:gdLst/>
              <a:ahLst/>
              <a:cxnLst/>
              <a:rect l="l" t="t" r="r" b="b"/>
              <a:pathLst>
                <a:path w="542765" h="158087" extrusionOk="0">
                  <a:moveTo>
                    <a:pt x="542765" y="762"/>
                  </a:moveTo>
                  <a:cubicBezTo>
                    <a:pt x="531264" y="28670"/>
                    <a:pt x="506549" y="55245"/>
                    <a:pt x="468812" y="76962"/>
                  </a:cubicBezTo>
                  <a:cubicBezTo>
                    <a:pt x="359879" y="139922"/>
                    <a:pt x="183647" y="139922"/>
                    <a:pt x="74238" y="76962"/>
                  </a:cubicBezTo>
                  <a:cubicBezTo>
                    <a:pt x="36216" y="54864"/>
                    <a:pt x="11502" y="28194"/>
                    <a:pt x="0" y="0"/>
                  </a:cubicBezTo>
                  <a:cubicBezTo>
                    <a:pt x="760" y="13906"/>
                    <a:pt x="1521" y="26956"/>
                    <a:pt x="2376" y="39148"/>
                  </a:cubicBezTo>
                  <a:cubicBezTo>
                    <a:pt x="14639" y="65437"/>
                    <a:pt x="38592" y="90202"/>
                    <a:pt x="74238" y="110871"/>
                  </a:cubicBezTo>
                  <a:cubicBezTo>
                    <a:pt x="120732" y="136255"/>
                    <a:pt x="172028" y="151571"/>
                    <a:pt x="224806" y="155829"/>
                  </a:cubicBezTo>
                  <a:cubicBezTo>
                    <a:pt x="253246" y="158601"/>
                    <a:pt x="281876" y="158820"/>
                    <a:pt x="310355" y="156496"/>
                  </a:cubicBezTo>
                  <a:cubicBezTo>
                    <a:pt x="365732" y="152991"/>
                    <a:pt x="419677" y="137417"/>
                    <a:pt x="468432" y="110871"/>
                  </a:cubicBezTo>
                  <a:cubicBezTo>
                    <a:pt x="503793" y="90392"/>
                    <a:pt x="527652" y="65913"/>
                    <a:pt x="540009" y="399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5"/>
            <p:cNvSpPr/>
            <p:nvPr/>
          </p:nvSpPr>
          <p:spPr>
            <a:xfrm>
              <a:off x="2829449" y="530444"/>
              <a:ext cx="249519" cy="126863"/>
            </a:xfrm>
            <a:custGeom>
              <a:avLst/>
              <a:gdLst/>
              <a:ahLst/>
              <a:cxnLst/>
              <a:rect l="l" t="t" r="r" b="b"/>
              <a:pathLst>
                <a:path w="249519" h="126863" extrusionOk="0">
                  <a:moveTo>
                    <a:pt x="249520" y="108109"/>
                  </a:moveTo>
                  <a:cubicBezTo>
                    <a:pt x="168218" y="133115"/>
                    <a:pt x="81302" y="133115"/>
                    <a:pt x="0" y="108109"/>
                  </a:cubicBezTo>
                  <a:cubicBezTo>
                    <a:pt x="33555" y="42481"/>
                    <a:pt x="73858" y="2381"/>
                    <a:pt x="122051" y="0"/>
                  </a:cubicBezTo>
                  <a:lnTo>
                    <a:pt x="122051" y="0"/>
                  </a:lnTo>
                  <a:lnTo>
                    <a:pt x="127564" y="0"/>
                  </a:lnTo>
                  <a:lnTo>
                    <a:pt x="127564" y="0"/>
                  </a:lnTo>
                  <a:cubicBezTo>
                    <a:pt x="175567" y="2857"/>
                    <a:pt x="215870" y="42767"/>
                    <a:pt x="249520" y="108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15"/>
            <p:cNvSpPr/>
            <p:nvPr/>
          </p:nvSpPr>
          <p:spPr>
            <a:xfrm>
              <a:off x="2934010" y="1583052"/>
              <a:ext cx="47432" cy="623982"/>
            </a:xfrm>
            <a:custGeom>
              <a:avLst/>
              <a:gdLst/>
              <a:ahLst/>
              <a:cxnLst/>
              <a:rect l="l" t="t" r="r" b="b"/>
              <a:pathLst>
                <a:path w="47432" h="623982" extrusionOk="0">
                  <a:moveTo>
                    <a:pt x="0" y="0"/>
                  </a:moveTo>
                  <a:lnTo>
                    <a:pt x="47433" y="0"/>
                  </a:lnTo>
                  <a:lnTo>
                    <a:pt x="47433" y="623983"/>
                  </a:lnTo>
                  <a:lnTo>
                    <a:pt x="0" y="6239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30" name="Google Shape;430;p15"/>
            <p:cNvGrpSpPr/>
            <p:nvPr/>
          </p:nvGrpSpPr>
          <p:grpSpPr>
            <a:xfrm>
              <a:off x="4031993" y="117216"/>
              <a:ext cx="2889297" cy="3901793"/>
              <a:chOff x="5533368" y="1047716"/>
              <a:chExt cx="2889297" cy="3901793"/>
            </a:xfrm>
          </p:grpSpPr>
          <p:sp>
            <p:nvSpPr>
              <p:cNvPr id="431" name="Google Shape;431;p15"/>
              <p:cNvSpPr/>
              <p:nvPr/>
            </p:nvSpPr>
            <p:spPr>
              <a:xfrm>
                <a:off x="6153722" y="4072604"/>
                <a:ext cx="1090544" cy="630910"/>
              </a:xfrm>
              <a:custGeom>
                <a:avLst/>
                <a:gdLst/>
                <a:ahLst/>
                <a:cxnLst/>
                <a:rect l="l" t="t" r="r" b="b"/>
                <a:pathLst>
                  <a:path w="1090544" h="630910" extrusionOk="0">
                    <a:moveTo>
                      <a:pt x="578197" y="615410"/>
                    </a:moveTo>
                    <a:lnTo>
                      <a:pt x="26877" y="296418"/>
                    </a:lnTo>
                    <a:cubicBezTo>
                      <a:pt x="-12951" y="273367"/>
                      <a:pt x="-7913" y="233172"/>
                      <a:pt x="37998" y="206597"/>
                    </a:cubicBezTo>
                    <a:lnTo>
                      <a:pt x="395216" y="0"/>
                    </a:lnTo>
                    <a:lnTo>
                      <a:pt x="1090545" y="402241"/>
                    </a:lnTo>
                    <a:lnTo>
                      <a:pt x="733327" y="608933"/>
                    </a:lnTo>
                    <a:cubicBezTo>
                      <a:pt x="687320" y="635508"/>
                      <a:pt x="617930" y="638365"/>
                      <a:pt x="578197" y="61541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15"/>
              <p:cNvSpPr/>
              <p:nvPr/>
            </p:nvSpPr>
            <p:spPr>
              <a:xfrm>
                <a:off x="6193969" y="4048886"/>
                <a:ext cx="1090601" cy="630901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01" extrusionOk="0">
                    <a:moveTo>
                      <a:pt x="578158" y="615410"/>
                    </a:moveTo>
                    <a:lnTo>
                      <a:pt x="26838" y="296323"/>
                    </a:lnTo>
                    <a:cubicBezTo>
                      <a:pt x="-12895" y="273368"/>
                      <a:pt x="-7952" y="233172"/>
                      <a:pt x="37960" y="206597"/>
                    </a:cubicBezTo>
                    <a:lnTo>
                      <a:pt x="395272" y="0"/>
                    </a:lnTo>
                    <a:lnTo>
                      <a:pt x="1090601" y="402241"/>
                    </a:lnTo>
                    <a:lnTo>
                      <a:pt x="733764" y="608838"/>
                    </a:lnTo>
                    <a:cubicBezTo>
                      <a:pt x="687377" y="635508"/>
                      <a:pt x="617891" y="638366"/>
                      <a:pt x="578158" y="61541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15"/>
              <p:cNvSpPr/>
              <p:nvPr/>
            </p:nvSpPr>
            <p:spPr>
              <a:xfrm>
                <a:off x="7252346" y="4430077"/>
                <a:ext cx="32128" cy="21050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21050" extrusionOk="0">
                    <a:moveTo>
                      <a:pt x="32129" y="21050"/>
                    </a:moveTo>
                    <a:lnTo>
                      <a:pt x="32129" y="0"/>
                    </a:lnTo>
                    <a:lnTo>
                      <a:pt x="0" y="18574"/>
                    </a:lnTo>
                    <a:lnTo>
                      <a:pt x="32129" y="2105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15"/>
              <p:cNvSpPr/>
              <p:nvPr/>
            </p:nvSpPr>
            <p:spPr>
              <a:xfrm>
                <a:off x="6193906" y="4285773"/>
                <a:ext cx="32984" cy="21431"/>
              </a:xfrm>
              <a:custGeom>
                <a:avLst/>
                <a:gdLst/>
                <a:ahLst/>
                <a:cxnLst/>
                <a:rect l="l" t="t" r="r" b="b"/>
                <a:pathLst>
                  <a:path w="32984" h="21431" extrusionOk="0">
                    <a:moveTo>
                      <a:pt x="0" y="21431"/>
                    </a:moveTo>
                    <a:lnTo>
                      <a:pt x="0" y="0"/>
                    </a:lnTo>
                    <a:lnTo>
                      <a:pt x="32984" y="13716"/>
                    </a:lnTo>
                    <a:lnTo>
                      <a:pt x="0" y="214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15"/>
              <p:cNvSpPr/>
              <p:nvPr/>
            </p:nvSpPr>
            <p:spPr>
              <a:xfrm>
                <a:off x="6193969" y="4027741"/>
                <a:ext cx="1090601" cy="630949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49" extrusionOk="0">
                    <a:moveTo>
                      <a:pt x="578158" y="615410"/>
                    </a:moveTo>
                    <a:lnTo>
                      <a:pt x="26838" y="296418"/>
                    </a:lnTo>
                    <a:cubicBezTo>
                      <a:pt x="-12895" y="273368"/>
                      <a:pt x="-7952" y="233267"/>
                      <a:pt x="37960" y="206693"/>
                    </a:cubicBezTo>
                    <a:lnTo>
                      <a:pt x="395272" y="0"/>
                    </a:lnTo>
                    <a:lnTo>
                      <a:pt x="1090601" y="402336"/>
                    </a:lnTo>
                    <a:lnTo>
                      <a:pt x="733764" y="608934"/>
                    </a:lnTo>
                    <a:cubicBezTo>
                      <a:pt x="687377" y="635508"/>
                      <a:pt x="617891" y="638461"/>
                      <a:pt x="578158" y="615410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15"/>
              <p:cNvSpPr/>
              <p:nvPr/>
            </p:nvSpPr>
            <p:spPr>
              <a:xfrm>
                <a:off x="6504927" y="3742563"/>
                <a:ext cx="779547" cy="687514"/>
              </a:xfrm>
              <a:custGeom>
                <a:avLst/>
                <a:gdLst/>
                <a:ahLst/>
                <a:cxnLst/>
                <a:rect l="l" t="t" r="r" b="b"/>
                <a:pathLst>
                  <a:path w="779547" h="687514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0"/>
                    </a:lnTo>
                    <a:lnTo>
                      <a:pt x="779548" y="687514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15"/>
              <p:cNvSpPr/>
              <p:nvPr/>
            </p:nvSpPr>
            <p:spPr>
              <a:xfrm>
                <a:off x="7254152" y="4405788"/>
                <a:ext cx="30322" cy="36004"/>
              </a:xfrm>
              <a:custGeom>
                <a:avLst/>
                <a:gdLst/>
                <a:ahLst/>
                <a:cxnLst/>
                <a:rect l="l" t="t" r="r" b="b"/>
                <a:pathLst>
                  <a:path w="30322" h="36004" extrusionOk="0">
                    <a:moveTo>
                      <a:pt x="9981" y="36004"/>
                    </a:moveTo>
                    <a:lnTo>
                      <a:pt x="30323" y="242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15"/>
              <p:cNvSpPr/>
              <p:nvPr/>
            </p:nvSpPr>
            <p:spPr>
              <a:xfrm>
                <a:off x="6482779" y="3753326"/>
                <a:ext cx="781258" cy="688466"/>
              </a:xfrm>
              <a:custGeom>
                <a:avLst/>
                <a:gdLst/>
                <a:ahLst/>
                <a:cxnLst/>
                <a:rect l="l" t="t" r="r" b="b"/>
                <a:pathLst>
                  <a:path w="781258" h="688466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1"/>
                    </a:lnTo>
                    <a:lnTo>
                      <a:pt x="781259" y="688467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15"/>
              <p:cNvSpPr/>
              <p:nvPr/>
            </p:nvSpPr>
            <p:spPr>
              <a:xfrm>
                <a:off x="5563120" y="1047716"/>
                <a:ext cx="2859545" cy="3884751"/>
              </a:xfrm>
              <a:custGeom>
                <a:avLst/>
                <a:gdLst/>
                <a:ahLst/>
                <a:cxnLst/>
                <a:rect l="l" t="t" r="r" b="b"/>
                <a:pathLst>
                  <a:path w="2859545" h="3884751" extrusionOk="0">
                    <a:moveTo>
                      <a:pt x="2790441" y="3876709"/>
                    </a:moveTo>
                    <a:lnTo>
                      <a:pt x="69105" y="2302131"/>
                    </a:lnTo>
                    <a:cubicBezTo>
                      <a:pt x="31083" y="2280033"/>
                      <a:pt x="0" y="2220787"/>
                      <a:pt x="0" y="2169829"/>
                    </a:cubicBezTo>
                    <a:lnTo>
                      <a:pt x="0" y="60708"/>
                    </a:lnTo>
                    <a:cubicBezTo>
                      <a:pt x="0" y="9654"/>
                      <a:pt x="30988" y="-13778"/>
                      <a:pt x="69105" y="8320"/>
                    </a:cubicBezTo>
                    <a:lnTo>
                      <a:pt x="2790441" y="1582517"/>
                    </a:lnTo>
                    <a:cubicBezTo>
                      <a:pt x="2828463" y="1604615"/>
                      <a:pt x="2859546" y="1663861"/>
                      <a:pt x="2859546" y="1714819"/>
                    </a:cubicBezTo>
                    <a:lnTo>
                      <a:pt x="2859546" y="3823940"/>
                    </a:lnTo>
                    <a:cubicBezTo>
                      <a:pt x="2859261" y="3874899"/>
                      <a:pt x="2828463" y="3898330"/>
                      <a:pt x="2790441" y="3876709"/>
                    </a:cubicBez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15"/>
              <p:cNvSpPr/>
              <p:nvPr/>
            </p:nvSpPr>
            <p:spPr>
              <a:xfrm>
                <a:off x="8367249" y="4838795"/>
                <a:ext cx="30132" cy="106965"/>
              </a:xfrm>
              <a:custGeom>
                <a:avLst/>
                <a:gdLst/>
                <a:ahLst/>
                <a:cxnLst/>
                <a:rect l="l" t="t" r="r" b="b"/>
                <a:pathLst>
                  <a:path w="30132" h="106965" extrusionOk="0">
                    <a:moveTo>
                      <a:pt x="0" y="106966"/>
                    </a:moveTo>
                    <a:lnTo>
                      <a:pt x="30132" y="89535"/>
                    </a:lnTo>
                    <a:lnTo>
                      <a:pt x="17110" y="0"/>
                    </a:lnTo>
                    <a:lnTo>
                      <a:pt x="0" y="106966"/>
                    </a:ln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15"/>
              <p:cNvSpPr/>
              <p:nvPr/>
            </p:nvSpPr>
            <p:spPr>
              <a:xfrm>
                <a:off x="5558272" y="1051845"/>
                <a:ext cx="72337" cy="31155"/>
              </a:xfrm>
              <a:custGeom>
                <a:avLst/>
                <a:gdLst/>
                <a:ahLst/>
                <a:cxnLst/>
                <a:rect l="l" t="t" r="r" b="b"/>
                <a:pathLst>
                  <a:path w="72337" h="31155" extrusionOk="0">
                    <a:moveTo>
                      <a:pt x="0" y="17240"/>
                    </a:moveTo>
                    <a:lnTo>
                      <a:pt x="29657" y="0"/>
                    </a:lnTo>
                    <a:lnTo>
                      <a:pt x="72337" y="24479"/>
                    </a:lnTo>
                    <a:cubicBezTo>
                      <a:pt x="72337" y="24479"/>
                      <a:pt x="26901" y="31433"/>
                      <a:pt x="25760" y="31147"/>
                    </a:cubicBezTo>
                    <a:cubicBezTo>
                      <a:pt x="24619" y="30861"/>
                      <a:pt x="0" y="17240"/>
                      <a:pt x="0" y="1724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15"/>
              <p:cNvSpPr/>
              <p:nvPr/>
            </p:nvSpPr>
            <p:spPr>
              <a:xfrm>
                <a:off x="5538216" y="1062192"/>
                <a:ext cx="2859165" cy="3884558"/>
              </a:xfrm>
              <a:custGeom>
                <a:avLst/>
                <a:gdLst/>
                <a:ahLst/>
                <a:cxnLst/>
                <a:rect l="l" t="t" r="r" b="b"/>
                <a:pathLst>
                  <a:path w="2859165" h="3884558" extrusionOk="0">
                    <a:moveTo>
                      <a:pt x="2790061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789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893" y="-13776"/>
                      <a:pt x="69105" y="8322"/>
                    </a:cubicBezTo>
                    <a:lnTo>
                      <a:pt x="2790061" y="1582519"/>
                    </a:lnTo>
                    <a:cubicBezTo>
                      <a:pt x="2828083" y="1604617"/>
                      <a:pt x="2859166" y="1663862"/>
                      <a:pt x="2859166" y="1714821"/>
                    </a:cubicBezTo>
                    <a:lnTo>
                      <a:pt x="2859166" y="3824132"/>
                    </a:lnTo>
                    <a:cubicBezTo>
                      <a:pt x="2859166" y="3874900"/>
                      <a:pt x="2828273" y="3898332"/>
                      <a:pt x="2790061" y="3876234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15"/>
              <p:cNvSpPr/>
              <p:nvPr/>
            </p:nvSpPr>
            <p:spPr>
              <a:xfrm>
                <a:off x="5533368" y="1064955"/>
                <a:ext cx="2859260" cy="3884554"/>
              </a:xfrm>
              <a:custGeom>
                <a:avLst/>
                <a:gdLst/>
                <a:ahLst/>
                <a:cxnLst/>
                <a:rect l="l" t="t" r="r" b="b"/>
                <a:pathLst>
                  <a:path w="2859260" h="3884554" extrusionOk="0">
                    <a:moveTo>
                      <a:pt x="2790156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694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988" y="-13776"/>
                      <a:pt x="69105" y="8322"/>
                    </a:cubicBezTo>
                    <a:lnTo>
                      <a:pt x="2790156" y="1582995"/>
                    </a:lnTo>
                    <a:cubicBezTo>
                      <a:pt x="2828178" y="1604998"/>
                      <a:pt x="2859261" y="1664243"/>
                      <a:pt x="2859261" y="1715297"/>
                    </a:cubicBezTo>
                    <a:lnTo>
                      <a:pt x="2859261" y="3823847"/>
                    </a:lnTo>
                    <a:cubicBezTo>
                      <a:pt x="2859261" y="3874900"/>
                      <a:pt x="2828273" y="3898332"/>
                      <a:pt x="2790156" y="38762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44;p15"/>
              <p:cNvSpPr/>
              <p:nvPr/>
            </p:nvSpPr>
            <p:spPr>
              <a:xfrm>
                <a:off x="5568443" y="1110406"/>
                <a:ext cx="2788159" cy="3702480"/>
              </a:xfrm>
              <a:custGeom>
                <a:avLst/>
                <a:gdLst/>
                <a:ahLst/>
                <a:cxnLst/>
                <a:rect l="l" t="t" r="r" b="b"/>
                <a:pathLst>
                  <a:path w="2788159" h="3702480" extrusionOk="0">
                    <a:moveTo>
                      <a:pt x="2786734" y="3702481"/>
                    </a:moveTo>
                    <a:lnTo>
                      <a:pt x="0" y="2089993"/>
                    </a:lnTo>
                    <a:lnTo>
                      <a:pt x="951" y="23640"/>
                    </a:lnTo>
                    <a:cubicBezTo>
                      <a:pt x="951" y="2494"/>
                      <a:pt x="15779" y="-6078"/>
                      <a:pt x="34030" y="4590"/>
                    </a:cubicBezTo>
                    <a:lnTo>
                      <a:pt x="2755080" y="1578691"/>
                    </a:lnTo>
                    <a:cubicBezTo>
                      <a:pt x="2774529" y="1591407"/>
                      <a:pt x="2786800" y="1612610"/>
                      <a:pt x="2788160" y="16358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45;p15"/>
              <p:cNvSpPr/>
              <p:nvPr/>
            </p:nvSpPr>
            <p:spPr>
              <a:xfrm>
                <a:off x="5762166" y="1403396"/>
                <a:ext cx="919754" cy="618313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13" extrusionOk="0">
                    <a:moveTo>
                      <a:pt x="906256" y="616665"/>
                    </a:moveTo>
                    <a:lnTo>
                      <a:pt x="13498" y="100220"/>
                    </a:lnTo>
                    <a:cubicBezTo>
                      <a:pt x="5142" y="94185"/>
                      <a:pt x="133" y="84538"/>
                      <a:pt x="0" y="74217"/>
                    </a:cubicBezTo>
                    <a:lnTo>
                      <a:pt x="0" y="11828"/>
                    </a:lnTo>
                    <a:cubicBezTo>
                      <a:pt x="0" y="2303"/>
                      <a:pt x="5988" y="-2745"/>
                      <a:pt x="13498" y="1541"/>
                    </a:cubicBezTo>
                    <a:lnTo>
                      <a:pt x="906256" y="517986"/>
                    </a:lnTo>
                    <a:cubicBezTo>
                      <a:pt x="914574" y="524052"/>
                      <a:pt x="919574" y="533680"/>
                      <a:pt x="919754" y="543990"/>
                    </a:cubicBezTo>
                    <a:lnTo>
                      <a:pt x="919754" y="606378"/>
                    </a:lnTo>
                    <a:cubicBezTo>
                      <a:pt x="919754" y="616380"/>
                      <a:pt x="913671" y="621047"/>
                      <a:pt x="906256" y="61666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15"/>
              <p:cNvSpPr/>
              <p:nvPr/>
            </p:nvSpPr>
            <p:spPr>
              <a:xfrm>
                <a:off x="5766158" y="1584712"/>
                <a:ext cx="686298" cy="451951"/>
              </a:xfrm>
              <a:custGeom>
                <a:avLst/>
                <a:gdLst/>
                <a:ahLst/>
                <a:cxnLst/>
                <a:rect l="l" t="t" r="r" b="b"/>
                <a:pathLst>
                  <a:path w="686298" h="451951" extrusionOk="0">
                    <a:moveTo>
                      <a:pt x="672991" y="450304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057"/>
                    </a:lnTo>
                    <a:cubicBezTo>
                      <a:pt x="681261" y="389103"/>
                      <a:pt x="686194" y="398708"/>
                      <a:pt x="686299" y="408965"/>
                    </a:cubicBezTo>
                    <a:lnTo>
                      <a:pt x="686299" y="440017"/>
                    </a:lnTo>
                    <a:cubicBezTo>
                      <a:pt x="686299" y="450018"/>
                      <a:pt x="680405" y="454685"/>
                      <a:pt x="672991" y="45030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15"/>
              <p:cNvSpPr/>
              <p:nvPr/>
            </p:nvSpPr>
            <p:spPr>
              <a:xfrm>
                <a:off x="5766158" y="1702632"/>
                <a:ext cx="686488" cy="45175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759" extrusionOk="0">
                    <a:moveTo>
                      <a:pt x="672991" y="450018"/>
                    </a:moveTo>
                    <a:lnTo>
                      <a:pt x="13593" y="69018"/>
                    </a:lnTo>
                    <a:cubicBezTo>
                      <a:pt x="5199" y="63044"/>
                      <a:pt x="152" y="53422"/>
                      <a:pt x="0" y="43110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343"/>
                    </a:lnTo>
                    <a:cubicBezTo>
                      <a:pt x="681337" y="389344"/>
                      <a:pt x="686337" y="398964"/>
                      <a:pt x="686489" y="409251"/>
                    </a:cubicBezTo>
                    <a:lnTo>
                      <a:pt x="686489" y="440302"/>
                    </a:lnTo>
                    <a:cubicBezTo>
                      <a:pt x="686299" y="450018"/>
                      <a:pt x="680405" y="454495"/>
                      <a:pt x="672991" y="45001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48;p15"/>
              <p:cNvSpPr/>
              <p:nvPr/>
            </p:nvSpPr>
            <p:spPr>
              <a:xfrm>
                <a:off x="5766158" y="1820170"/>
                <a:ext cx="562156" cy="379997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97" extrusionOk="0">
                    <a:moveTo>
                      <a:pt x="548564" y="378390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548564" y="311048"/>
                    </a:lnTo>
                    <a:cubicBezTo>
                      <a:pt x="556948" y="317077"/>
                      <a:pt x="561985" y="326717"/>
                      <a:pt x="562157" y="337051"/>
                    </a:cubicBezTo>
                    <a:lnTo>
                      <a:pt x="562157" y="368103"/>
                    </a:lnTo>
                    <a:cubicBezTo>
                      <a:pt x="562157" y="378104"/>
                      <a:pt x="556073" y="382676"/>
                      <a:pt x="548564" y="3783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15"/>
              <p:cNvSpPr/>
              <p:nvPr/>
            </p:nvSpPr>
            <p:spPr>
              <a:xfrm>
                <a:off x="5762166" y="2639293"/>
                <a:ext cx="919754" cy="618340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40" extrusionOk="0">
                    <a:moveTo>
                      <a:pt x="906256" y="616732"/>
                    </a:moveTo>
                    <a:lnTo>
                      <a:pt x="13498" y="100287"/>
                    </a:lnTo>
                    <a:cubicBezTo>
                      <a:pt x="5142" y="94248"/>
                      <a:pt x="133" y="84609"/>
                      <a:pt x="0" y="74284"/>
                    </a:cubicBezTo>
                    <a:lnTo>
                      <a:pt x="0" y="11895"/>
                    </a:lnTo>
                    <a:cubicBezTo>
                      <a:pt x="0" y="1894"/>
                      <a:pt x="5988" y="-2678"/>
                      <a:pt x="13498" y="1608"/>
                    </a:cubicBezTo>
                    <a:lnTo>
                      <a:pt x="906256" y="518053"/>
                    </a:lnTo>
                    <a:cubicBezTo>
                      <a:pt x="914574" y="524121"/>
                      <a:pt x="919574" y="533751"/>
                      <a:pt x="919754" y="544057"/>
                    </a:cubicBezTo>
                    <a:lnTo>
                      <a:pt x="919754" y="606445"/>
                    </a:lnTo>
                    <a:cubicBezTo>
                      <a:pt x="919754" y="616447"/>
                      <a:pt x="913671" y="621019"/>
                      <a:pt x="906256" y="61673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15"/>
              <p:cNvSpPr/>
              <p:nvPr/>
            </p:nvSpPr>
            <p:spPr>
              <a:xfrm>
                <a:off x="5766158" y="2821069"/>
                <a:ext cx="686488" cy="45151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519" extrusionOk="0">
                    <a:moveTo>
                      <a:pt x="672991" y="449910"/>
                    </a:moveTo>
                    <a:lnTo>
                      <a:pt x="13593" y="68910"/>
                    </a:lnTo>
                    <a:cubicBezTo>
                      <a:pt x="5209" y="62881"/>
                      <a:pt x="171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672991" y="382664"/>
                    </a:lnTo>
                    <a:cubicBezTo>
                      <a:pt x="681308" y="388731"/>
                      <a:pt x="686308" y="398361"/>
                      <a:pt x="686489" y="408667"/>
                    </a:cubicBezTo>
                    <a:lnTo>
                      <a:pt x="686489" y="439719"/>
                    </a:lnTo>
                    <a:cubicBezTo>
                      <a:pt x="686299" y="449625"/>
                      <a:pt x="680405" y="454197"/>
                      <a:pt x="672991" y="44991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51;p15"/>
              <p:cNvSpPr/>
              <p:nvPr/>
            </p:nvSpPr>
            <p:spPr>
              <a:xfrm>
                <a:off x="5766158" y="2938486"/>
                <a:ext cx="686488" cy="451826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826" extrusionOk="0">
                    <a:moveTo>
                      <a:pt x="672991" y="450223"/>
                    </a:moveTo>
                    <a:lnTo>
                      <a:pt x="13593" y="68747"/>
                    </a:lnTo>
                    <a:cubicBezTo>
                      <a:pt x="5228" y="62756"/>
                      <a:pt x="190" y="53145"/>
                      <a:pt x="0" y="42839"/>
                    </a:cubicBezTo>
                    <a:lnTo>
                      <a:pt x="0" y="11787"/>
                    </a:lnTo>
                    <a:cubicBezTo>
                      <a:pt x="0" y="2262"/>
                      <a:pt x="6084" y="-2786"/>
                      <a:pt x="13593" y="1595"/>
                    </a:cubicBezTo>
                    <a:lnTo>
                      <a:pt x="672991" y="382595"/>
                    </a:lnTo>
                    <a:cubicBezTo>
                      <a:pt x="681308" y="388663"/>
                      <a:pt x="686308" y="398293"/>
                      <a:pt x="686489" y="408599"/>
                    </a:cubicBezTo>
                    <a:lnTo>
                      <a:pt x="686489" y="439650"/>
                    </a:lnTo>
                    <a:cubicBezTo>
                      <a:pt x="686299" y="449937"/>
                      <a:pt x="680405" y="454509"/>
                      <a:pt x="672991" y="45022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15"/>
              <p:cNvSpPr/>
              <p:nvPr/>
            </p:nvSpPr>
            <p:spPr>
              <a:xfrm>
                <a:off x="5766158" y="3056051"/>
                <a:ext cx="562156" cy="379920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20" extrusionOk="0">
                    <a:moveTo>
                      <a:pt x="548564" y="378378"/>
                    </a:moveTo>
                    <a:lnTo>
                      <a:pt x="13593" y="68910"/>
                    </a:lnTo>
                    <a:cubicBezTo>
                      <a:pt x="5199" y="62900"/>
                      <a:pt x="152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548564" y="311131"/>
                    </a:lnTo>
                    <a:cubicBezTo>
                      <a:pt x="556948" y="317161"/>
                      <a:pt x="561985" y="326800"/>
                      <a:pt x="562157" y="337134"/>
                    </a:cubicBezTo>
                    <a:lnTo>
                      <a:pt x="562157" y="368186"/>
                    </a:lnTo>
                    <a:cubicBezTo>
                      <a:pt x="562157" y="378187"/>
                      <a:pt x="556073" y="382473"/>
                      <a:pt x="548564" y="378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53;p15"/>
              <p:cNvSpPr/>
              <p:nvPr/>
            </p:nvSpPr>
            <p:spPr>
              <a:xfrm>
                <a:off x="6897600" y="3332192"/>
                <a:ext cx="1250451" cy="1162368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62368" extrusionOk="0">
                    <a:moveTo>
                      <a:pt x="9696" y="77186"/>
                    </a:moveTo>
                    <a:cubicBezTo>
                      <a:pt x="9696" y="77186"/>
                      <a:pt x="108173" y="160053"/>
                      <a:pt x="250376" y="46896"/>
                    </a:cubicBezTo>
                    <a:cubicBezTo>
                      <a:pt x="351895" y="-36543"/>
                      <a:pt x="442672" y="11082"/>
                      <a:pt x="493242" y="39657"/>
                    </a:cubicBezTo>
                    <a:cubicBezTo>
                      <a:pt x="543811" y="68232"/>
                      <a:pt x="616813" y="85758"/>
                      <a:pt x="755879" y="337409"/>
                    </a:cubicBezTo>
                    <a:cubicBezTo>
                      <a:pt x="755879" y="337409"/>
                      <a:pt x="801125" y="416276"/>
                      <a:pt x="875839" y="459519"/>
                    </a:cubicBezTo>
                    <a:cubicBezTo>
                      <a:pt x="950552" y="502763"/>
                      <a:pt x="986483" y="481617"/>
                      <a:pt x="1045227" y="392844"/>
                    </a:cubicBezTo>
                    <a:cubicBezTo>
                      <a:pt x="1103971" y="304071"/>
                      <a:pt x="1142469" y="205773"/>
                      <a:pt x="1250452" y="269972"/>
                    </a:cubicBezTo>
                    <a:lnTo>
                      <a:pt x="1250452" y="1162369"/>
                    </a:lnTo>
                    <a:lnTo>
                      <a:pt x="0" y="439707"/>
                    </a:lnTo>
                    <a:lnTo>
                      <a:pt x="0" y="71375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54;p15"/>
              <p:cNvSpPr/>
              <p:nvPr/>
            </p:nvSpPr>
            <p:spPr>
              <a:xfrm>
                <a:off x="5766443" y="2003281"/>
                <a:ext cx="882682" cy="1029375"/>
              </a:xfrm>
              <a:custGeom>
                <a:avLst/>
                <a:gdLst/>
                <a:ahLst/>
                <a:cxnLst/>
                <a:rect l="l" t="t" r="r" b="b"/>
                <a:pathLst>
                  <a:path w="882682" h="1029375" extrusionOk="0">
                    <a:moveTo>
                      <a:pt x="869090" y="1027764"/>
                    </a:moveTo>
                    <a:lnTo>
                      <a:pt x="13593" y="532464"/>
                    </a:lnTo>
                    <a:cubicBezTo>
                      <a:pt x="5209" y="526435"/>
                      <a:pt x="171" y="516796"/>
                      <a:pt x="0" y="506461"/>
                    </a:cubicBezTo>
                    <a:lnTo>
                      <a:pt x="0" y="11828"/>
                    </a:lnTo>
                    <a:cubicBezTo>
                      <a:pt x="0" y="2303"/>
                      <a:pt x="6084" y="-2745"/>
                      <a:pt x="13593" y="1541"/>
                    </a:cubicBezTo>
                    <a:lnTo>
                      <a:pt x="869090" y="496841"/>
                    </a:lnTo>
                    <a:cubicBezTo>
                      <a:pt x="877474" y="502870"/>
                      <a:pt x="882512" y="512510"/>
                      <a:pt x="882683" y="522844"/>
                    </a:cubicBezTo>
                    <a:lnTo>
                      <a:pt x="882683" y="1017668"/>
                    </a:lnTo>
                    <a:cubicBezTo>
                      <a:pt x="882683" y="1027479"/>
                      <a:pt x="876599" y="1032051"/>
                      <a:pt x="869090" y="102776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55;p15"/>
              <p:cNvSpPr/>
              <p:nvPr/>
            </p:nvSpPr>
            <p:spPr>
              <a:xfrm>
                <a:off x="6897600" y="3388613"/>
                <a:ext cx="1250451" cy="1106424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06424" extrusionOk="0">
                    <a:moveTo>
                      <a:pt x="0" y="0"/>
                    </a:moveTo>
                    <a:lnTo>
                      <a:pt x="0" y="383096"/>
                    </a:lnTo>
                    <a:lnTo>
                      <a:pt x="1250452" y="1106424"/>
                    </a:lnTo>
                    <a:lnTo>
                      <a:pt x="1250452" y="214027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15"/>
              <p:cNvSpPr/>
              <p:nvPr/>
            </p:nvSpPr>
            <p:spPr>
              <a:xfrm>
                <a:off x="7389036" y="3376326"/>
                <a:ext cx="9505" cy="678751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678751" extrusionOk="0">
                    <a:moveTo>
                      <a:pt x="0" y="0"/>
                    </a:moveTo>
                    <a:lnTo>
                      <a:pt x="0" y="678752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57;p15"/>
              <p:cNvSpPr/>
              <p:nvPr/>
            </p:nvSpPr>
            <p:spPr>
              <a:xfrm>
                <a:off x="7771633" y="3805618"/>
                <a:ext cx="9505" cy="470725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470725" extrusionOk="0">
                    <a:moveTo>
                      <a:pt x="0" y="0"/>
                    </a:moveTo>
                    <a:lnTo>
                      <a:pt x="0" y="470725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15"/>
              <p:cNvSpPr/>
              <p:nvPr/>
            </p:nvSpPr>
            <p:spPr>
              <a:xfrm>
                <a:off x="6897600" y="3332663"/>
                <a:ext cx="1250451" cy="479359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479359" extrusionOk="0">
                    <a:moveTo>
                      <a:pt x="0" y="70905"/>
                    </a:moveTo>
                    <a:cubicBezTo>
                      <a:pt x="221859" y="208732"/>
                      <a:pt x="253227" y="-102831"/>
                      <a:pt x="494953" y="36996"/>
                    </a:cubicBezTo>
                    <a:cubicBezTo>
                      <a:pt x="736678" y="176823"/>
                      <a:pt x="703314" y="359036"/>
                      <a:pt x="881732" y="462288"/>
                    </a:cubicBezTo>
                    <a:cubicBezTo>
                      <a:pt x="1060151" y="565538"/>
                      <a:pt x="1064333" y="162250"/>
                      <a:pt x="1250452" y="269978"/>
                    </a:cubicBezTo>
                  </a:path>
                </a:pathLst>
              </a:custGeom>
              <a:noFill/>
              <a:ln w="14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15"/>
              <p:cNvSpPr/>
              <p:nvPr/>
            </p:nvSpPr>
            <p:spPr>
              <a:xfrm rot="-1801764">
                <a:off x="7364922" y="3334621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60;p15"/>
              <p:cNvSpPr/>
              <p:nvPr/>
            </p:nvSpPr>
            <p:spPr>
              <a:xfrm rot="-1790023">
                <a:off x="8141346" y="3571007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4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4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61;p15"/>
              <p:cNvSpPr/>
              <p:nvPr/>
            </p:nvSpPr>
            <p:spPr>
              <a:xfrm rot="-1790023">
                <a:off x="7763340" y="3766404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3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3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62;p15"/>
              <p:cNvSpPr/>
              <p:nvPr/>
            </p:nvSpPr>
            <p:spPr>
              <a:xfrm rot="-1801764">
                <a:off x="6873548" y="3361832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p15"/>
              <p:cNvSpPr/>
              <p:nvPr/>
            </p:nvSpPr>
            <p:spPr>
              <a:xfrm>
                <a:off x="6868038" y="2430219"/>
                <a:ext cx="78705" cy="316778"/>
              </a:xfrm>
              <a:custGeom>
                <a:avLst/>
                <a:gdLst/>
                <a:ahLst/>
                <a:cxnLst/>
                <a:rect l="l" t="t" r="r" b="b"/>
                <a:pathLst>
                  <a:path w="78705" h="316778" extrusionOk="0">
                    <a:moveTo>
                      <a:pt x="64828" y="315171"/>
                    </a:moveTo>
                    <a:lnTo>
                      <a:pt x="13593" y="285548"/>
                    </a:lnTo>
                    <a:cubicBezTo>
                      <a:pt x="5209" y="279519"/>
                      <a:pt x="171" y="269880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193" y="37136"/>
                      <a:pt x="78335" y="46566"/>
                      <a:pt x="78706" y="56758"/>
                    </a:cubicBezTo>
                    <a:lnTo>
                      <a:pt x="78706" y="304884"/>
                    </a:lnTo>
                    <a:cubicBezTo>
                      <a:pt x="78706" y="314885"/>
                      <a:pt x="72337" y="319457"/>
                      <a:pt x="64828" y="3151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64;p15"/>
              <p:cNvSpPr/>
              <p:nvPr/>
            </p:nvSpPr>
            <p:spPr>
              <a:xfrm>
                <a:off x="6986477" y="2241366"/>
                <a:ext cx="78420" cy="57392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73928" extrusionOk="0">
                    <a:moveTo>
                      <a:pt x="64828" y="572319"/>
                    </a:moveTo>
                    <a:lnTo>
                      <a:pt x="13593" y="542601"/>
                    </a:lnTo>
                    <a:cubicBezTo>
                      <a:pt x="5199" y="536629"/>
                      <a:pt x="152" y="527009"/>
                      <a:pt x="0" y="516693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4828" y="31299"/>
                    </a:lnTo>
                    <a:cubicBezTo>
                      <a:pt x="73211" y="37328"/>
                      <a:pt x="78249" y="46967"/>
                      <a:pt x="78421" y="57302"/>
                    </a:cubicBezTo>
                    <a:lnTo>
                      <a:pt x="78421" y="562127"/>
                    </a:lnTo>
                    <a:cubicBezTo>
                      <a:pt x="78041" y="572033"/>
                      <a:pt x="71957" y="576605"/>
                      <a:pt x="64828" y="5723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15"/>
              <p:cNvSpPr/>
              <p:nvPr/>
            </p:nvSpPr>
            <p:spPr>
              <a:xfrm>
                <a:off x="7222119" y="2426981"/>
                <a:ext cx="78420" cy="524860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24860" extrusionOk="0">
                    <a:moveTo>
                      <a:pt x="64828" y="523197"/>
                    </a:moveTo>
                    <a:lnTo>
                      <a:pt x="13593" y="493574"/>
                    </a:lnTo>
                    <a:cubicBezTo>
                      <a:pt x="5181" y="487583"/>
                      <a:pt x="124" y="477915"/>
                      <a:pt x="0" y="467571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231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513005"/>
                    </a:lnTo>
                    <a:cubicBezTo>
                      <a:pt x="78421" y="523006"/>
                      <a:pt x="72337" y="527578"/>
                      <a:pt x="64828" y="52319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15"/>
              <p:cNvSpPr/>
              <p:nvPr/>
            </p:nvSpPr>
            <p:spPr>
              <a:xfrm>
                <a:off x="7340177" y="2573447"/>
                <a:ext cx="78420" cy="446687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446687" extrusionOk="0">
                    <a:moveTo>
                      <a:pt x="64827" y="445025"/>
                    </a:moveTo>
                    <a:lnTo>
                      <a:pt x="13593" y="415402"/>
                    </a:lnTo>
                    <a:cubicBezTo>
                      <a:pt x="5209" y="409373"/>
                      <a:pt x="171" y="399734"/>
                      <a:pt x="0" y="389399"/>
                    </a:cubicBezTo>
                    <a:lnTo>
                      <a:pt x="0" y="11828"/>
                    </a:lnTo>
                    <a:cubicBezTo>
                      <a:pt x="0" y="2303"/>
                      <a:pt x="6083" y="-2745"/>
                      <a:pt x="13593" y="1541"/>
                    </a:cubicBezTo>
                    <a:lnTo>
                      <a:pt x="64827" y="31259"/>
                    </a:lnTo>
                    <a:cubicBezTo>
                      <a:pt x="73221" y="37231"/>
                      <a:pt x="78268" y="46851"/>
                      <a:pt x="78421" y="57167"/>
                    </a:cubicBezTo>
                    <a:lnTo>
                      <a:pt x="78421" y="434738"/>
                    </a:lnTo>
                    <a:cubicBezTo>
                      <a:pt x="78421" y="444835"/>
                      <a:pt x="72337" y="449406"/>
                      <a:pt x="64827" y="44502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67;p15"/>
              <p:cNvSpPr/>
              <p:nvPr/>
            </p:nvSpPr>
            <p:spPr>
              <a:xfrm>
                <a:off x="7575249" y="2900319"/>
                <a:ext cx="78325" cy="255777"/>
              </a:xfrm>
              <a:custGeom>
                <a:avLst/>
                <a:gdLst/>
                <a:ahLst/>
                <a:cxnLst/>
                <a:rect l="l" t="t" r="r" b="b"/>
                <a:pathLst>
                  <a:path w="78325" h="255777" extrusionOk="0">
                    <a:moveTo>
                      <a:pt x="64828" y="254170"/>
                    </a:moveTo>
                    <a:lnTo>
                      <a:pt x="13498" y="224547"/>
                    </a:lnTo>
                    <a:cubicBezTo>
                      <a:pt x="5143" y="218508"/>
                      <a:pt x="133" y="208869"/>
                      <a:pt x="0" y="198544"/>
                    </a:cubicBezTo>
                    <a:lnTo>
                      <a:pt x="0" y="11949"/>
                    </a:lnTo>
                    <a:cubicBezTo>
                      <a:pt x="0" y="1853"/>
                      <a:pt x="5989" y="-2719"/>
                      <a:pt x="13498" y="1662"/>
                    </a:cubicBezTo>
                    <a:lnTo>
                      <a:pt x="64828" y="31285"/>
                    </a:lnTo>
                    <a:cubicBezTo>
                      <a:pt x="73145" y="37352"/>
                      <a:pt x="78145" y="46982"/>
                      <a:pt x="78325" y="57288"/>
                    </a:cubicBezTo>
                    <a:lnTo>
                      <a:pt x="78325" y="243883"/>
                    </a:lnTo>
                    <a:cubicBezTo>
                      <a:pt x="78325" y="253884"/>
                      <a:pt x="72242" y="258456"/>
                      <a:pt x="64828" y="2541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p15"/>
              <p:cNvSpPr/>
              <p:nvPr/>
            </p:nvSpPr>
            <p:spPr>
              <a:xfrm>
                <a:off x="7693593" y="2520557"/>
                <a:ext cx="78420" cy="70383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703833" extrusionOk="0">
                    <a:moveTo>
                      <a:pt x="64447" y="702226"/>
                    </a:moveTo>
                    <a:lnTo>
                      <a:pt x="13593" y="672508"/>
                    </a:lnTo>
                    <a:cubicBezTo>
                      <a:pt x="5199" y="666536"/>
                      <a:pt x="152" y="656916"/>
                      <a:pt x="0" y="646600"/>
                    </a:cubicBezTo>
                    <a:lnTo>
                      <a:pt x="0" y="11949"/>
                    </a:lnTo>
                    <a:cubicBezTo>
                      <a:pt x="0" y="1853"/>
                      <a:pt x="6083" y="-2719"/>
                      <a:pt x="13593" y="1662"/>
                    </a:cubicBezTo>
                    <a:lnTo>
                      <a:pt x="64828" y="31285"/>
                    </a:lnTo>
                    <a:cubicBezTo>
                      <a:pt x="73221" y="37305"/>
                      <a:pt x="78268" y="46954"/>
                      <a:pt x="78421" y="57288"/>
                    </a:cubicBezTo>
                    <a:lnTo>
                      <a:pt x="78421" y="691939"/>
                    </a:lnTo>
                    <a:cubicBezTo>
                      <a:pt x="78040" y="701940"/>
                      <a:pt x="71957" y="706512"/>
                      <a:pt x="64447" y="702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69;p15"/>
              <p:cNvSpPr/>
              <p:nvPr/>
            </p:nvSpPr>
            <p:spPr>
              <a:xfrm>
                <a:off x="7981135" y="3135165"/>
                <a:ext cx="78420" cy="25581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255818" extrusionOk="0">
                    <a:moveTo>
                      <a:pt x="64828" y="254211"/>
                    </a:moveTo>
                    <a:lnTo>
                      <a:pt x="13593" y="224493"/>
                    </a:lnTo>
                    <a:cubicBezTo>
                      <a:pt x="5199" y="218521"/>
                      <a:pt x="152" y="208900"/>
                      <a:pt x="0" y="19858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240" y="37317"/>
                      <a:pt x="78297" y="46985"/>
                      <a:pt x="78421" y="57329"/>
                    </a:cubicBezTo>
                    <a:lnTo>
                      <a:pt x="78421" y="243924"/>
                    </a:lnTo>
                    <a:cubicBezTo>
                      <a:pt x="78421" y="253925"/>
                      <a:pt x="72337" y="258497"/>
                      <a:pt x="64828" y="25421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70;p15"/>
              <p:cNvSpPr/>
              <p:nvPr/>
            </p:nvSpPr>
            <p:spPr>
              <a:xfrm>
                <a:off x="8099193" y="3142308"/>
                <a:ext cx="78420" cy="31696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316963" extrusionOk="0">
                    <a:moveTo>
                      <a:pt x="64828" y="315266"/>
                    </a:moveTo>
                    <a:lnTo>
                      <a:pt x="13593" y="285548"/>
                    </a:lnTo>
                    <a:cubicBezTo>
                      <a:pt x="5181" y="279557"/>
                      <a:pt x="124" y="269889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4" y="-2678"/>
                      <a:pt x="13593" y="1608"/>
                    </a:cubicBezTo>
                    <a:lnTo>
                      <a:pt x="64828" y="31230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305360"/>
                    </a:lnTo>
                    <a:cubicBezTo>
                      <a:pt x="78421" y="315266"/>
                      <a:pt x="72337" y="319648"/>
                      <a:pt x="64828" y="315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71" name="Google Shape;471;p15"/>
            <p:cNvSpPr/>
            <p:nvPr/>
          </p:nvSpPr>
          <p:spPr>
            <a:xfrm>
              <a:off x="2810939" y="4355647"/>
              <a:ext cx="905825" cy="524291"/>
            </a:xfrm>
            <a:custGeom>
              <a:avLst/>
              <a:gdLst/>
              <a:ahLst/>
              <a:cxnLst/>
              <a:rect l="l" t="t" r="r" b="b"/>
              <a:pathLst>
                <a:path w="905825" h="524291" extrusionOk="0">
                  <a:moveTo>
                    <a:pt x="456810" y="505052"/>
                  </a:moveTo>
                  <a:lnTo>
                    <a:pt x="32483" y="259879"/>
                  </a:lnTo>
                  <a:cubicBezTo>
                    <a:pt x="-15615" y="231970"/>
                    <a:pt x="-9626" y="183679"/>
                    <a:pt x="45981" y="151294"/>
                  </a:cubicBezTo>
                  <a:lnTo>
                    <a:pt x="261376" y="26611"/>
                  </a:lnTo>
                  <a:cubicBezTo>
                    <a:pt x="316889" y="-5488"/>
                    <a:pt x="400632" y="-9298"/>
                    <a:pt x="449015" y="19277"/>
                  </a:cubicBezTo>
                  <a:lnTo>
                    <a:pt x="873342" y="264832"/>
                  </a:lnTo>
                  <a:cubicBezTo>
                    <a:pt x="921440" y="292645"/>
                    <a:pt x="915451" y="341032"/>
                    <a:pt x="859844" y="373322"/>
                  </a:cubicBezTo>
                  <a:lnTo>
                    <a:pt x="644449" y="498004"/>
                  </a:lnTo>
                  <a:cubicBezTo>
                    <a:pt x="588937" y="529627"/>
                    <a:pt x="505193" y="533627"/>
                    <a:pt x="456810" y="505052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Google Shape;472;p15"/>
            <p:cNvSpPr/>
            <p:nvPr/>
          </p:nvSpPr>
          <p:spPr>
            <a:xfrm>
              <a:off x="2999385" y="3858955"/>
              <a:ext cx="906089" cy="910207"/>
            </a:xfrm>
            <a:custGeom>
              <a:avLst/>
              <a:gdLst/>
              <a:ahLst/>
              <a:cxnLst/>
              <a:rect l="l" t="t" r="r" b="b"/>
              <a:pathLst>
                <a:path w="906089" h="910207" extrusionOk="0">
                  <a:moveTo>
                    <a:pt x="906089" y="695706"/>
                  </a:moveTo>
                  <a:lnTo>
                    <a:pt x="906089" y="102203"/>
                  </a:lnTo>
                  <a:lnTo>
                    <a:pt x="23" y="0"/>
                  </a:lnTo>
                  <a:lnTo>
                    <a:pt x="23" y="597218"/>
                  </a:lnTo>
                  <a:lnTo>
                    <a:pt x="23" y="597218"/>
                  </a:lnTo>
                  <a:cubicBezTo>
                    <a:pt x="-547" y="615506"/>
                    <a:pt x="9528" y="632936"/>
                    <a:pt x="32342" y="645891"/>
                  </a:cubicBezTo>
                  <a:lnTo>
                    <a:pt x="456668" y="891445"/>
                  </a:lnTo>
                  <a:cubicBezTo>
                    <a:pt x="504766" y="919258"/>
                    <a:pt x="588795" y="915734"/>
                    <a:pt x="644307" y="883634"/>
                  </a:cubicBezTo>
                  <a:lnTo>
                    <a:pt x="859702" y="758952"/>
                  </a:lnTo>
                  <a:cubicBezTo>
                    <a:pt x="890975" y="740855"/>
                    <a:pt x="906565" y="717518"/>
                    <a:pt x="905614" y="6957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5"/>
            <p:cNvSpPr/>
            <p:nvPr/>
          </p:nvSpPr>
          <p:spPr>
            <a:xfrm>
              <a:off x="2999385" y="3718383"/>
              <a:ext cx="905566" cy="524522"/>
            </a:xfrm>
            <a:custGeom>
              <a:avLst/>
              <a:gdLst/>
              <a:ahLst/>
              <a:cxnLst/>
              <a:rect l="l" t="t" r="r" b="b"/>
              <a:pathLst>
                <a:path w="905566" h="524522" extrusionOk="0">
                  <a:moveTo>
                    <a:pt x="905519" y="307545"/>
                  </a:moveTo>
                  <a:lnTo>
                    <a:pt x="905519" y="242775"/>
                  </a:lnTo>
                  <a:lnTo>
                    <a:pt x="835843" y="242775"/>
                  </a:lnTo>
                  <a:lnTo>
                    <a:pt x="448874" y="18842"/>
                  </a:lnTo>
                  <a:cubicBezTo>
                    <a:pt x="400776" y="-9066"/>
                    <a:pt x="316747" y="-5542"/>
                    <a:pt x="261235" y="26557"/>
                  </a:cubicBezTo>
                  <a:lnTo>
                    <a:pt x="45839" y="151716"/>
                  </a:lnTo>
                  <a:cubicBezTo>
                    <a:pt x="42009" y="153897"/>
                    <a:pt x="38296" y="156279"/>
                    <a:pt x="34718" y="158860"/>
                  </a:cubicBezTo>
                  <a:lnTo>
                    <a:pt x="23" y="141048"/>
                  </a:lnTo>
                  <a:cubicBezTo>
                    <a:pt x="23" y="141048"/>
                    <a:pt x="23" y="209533"/>
                    <a:pt x="23" y="211819"/>
                  </a:cubicBezTo>
                  <a:lnTo>
                    <a:pt x="23" y="211819"/>
                  </a:lnTo>
                  <a:cubicBezTo>
                    <a:pt x="-547" y="229916"/>
                    <a:pt x="9528" y="247347"/>
                    <a:pt x="32342" y="260301"/>
                  </a:cubicBezTo>
                  <a:lnTo>
                    <a:pt x="456668" y="505760"/>
                  </a:lnTo>
                  <a:cubicBezTo>
                    <a:pt x="504766" y="533573"/>
                    <a:pt x="588795" y="530049"/>
                    <a:pt x="644307" y="497950"/>
                  </a:cubicBezTo>
                  <a:lnTo>
                    <a:pt x="859702" y="373363"/>
                  </a:lnTo>
                  <a:cubicBezTo>
                    <a:pt x="891926" y="354313"/>
                    <a:pt x="907230" y="330500"/>
                    <a:pt x="905424" y="308021"/>
                  </a:cubicBezTo>
                  <a:close/>
                </a:path>
              </a:pathLst>
            </a:custGeom>
            <a:solidFill>
              <a:srgbClr val="EDF0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Google Shape;474;p15"/>
            <p:cNvSpPr/>
            <p:nvPr/>
          </p:nvSpPr>
          <p:spPr>
            <a:xfrm>
              <a:off x="2999243" y="3647851"/>
              <a:ext cx="905825" cy="524031"/>
            </a:xfrm>
            <a:custGeom>
              <a:avLst/>
              <a:gdLst/>
              <a:ahLst/>
              <a:cxnLst/>
              <a:rect l="l" t="t" r="r" b="b"/>
              <a:pathLst>
                <a:path w="905825" h="524031" extrusionOk="0">
                  <a:moveTo>
                    <a:pt x="456810" y="505236"/>
                  </a:moveTo>
                  <a:lnTo>
                    <a:pt x="32483" y="259777"/>
                  </a:lnTo>
                  <a:cubicBezTo>
                    <a:pt x="-15615" y="231964"/>
                    <a:pt x="-9626" y="183577"/>
                    <a:pt x="45981" y="151192"/>
                  </a:cubicBezTo>
                  <a:lnTo>
                    <a:pt x="261376" y="26605"/>
                  </a:lnTo>
                  <a:cubicBezTo>
                    <a:pt x="316889" y="-5589"/>
                    <a:pt x="400917" y="-9018"/>
                    <a:pt x="449015" y="18795"/>
                  </a:cubicBezTo>
                  <a:lnTo>
                    <a:pt x="873342" y="264254"/>
                  </a:lnTo>
                  <a:cubicBezTo>
                    <a:pt x="921440" y="292067"/>
                    <a:pt x="915451" y="340454"/>
                    <a:pt x="859844" y="372839"/>
                  </a:cubicBezTo>
                  <a:lnTo>
                    <a:pt x="644449" y="497426"/>
                  </a:lnTo>
                  <a:cubicBezTo>
                    <a:pt x="588937" y="529620"/>
                    <a:pt x="504908" y="533050"/>
                    <a:pt x="456810" y="505236"/>
                  </a:cubicBezTo>
                  <a:close/>
                </a:path>
              </a:pathLst>
            </a:custGeom>
            <a:solidFill>
              <a:srgbClr val="E2E5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Google Shape;475;p15"/>
            <p:cNvSpPr/>
            <p:nvPr/>
          </p:nvSpPr>
          <p:spPr>
            <a:xfrm>
              <a:off x="3230772" y="3780524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293" y="12575"/>
                    <a:pt x="13716" y="14395"/>
                    <a:pt x="11312" y="16424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p15"/>
            <p:cNvSpPr/>
            <p:nvPr/>
          </p:nvSpPr>
          <p:spPr>
            <a:xfrm>
              <a:off x="3230772" y="3756847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8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8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15"/>
            <p:cNvSpPr/>
            <p:nvPr/>
          </p:nvSpPr>
          <p:spPr>
            <a:xfrm>
              <a:off x="3393243" y="3872036"/>
              <a:ext cx="129623" cy="74995"/>
            </a:xfrm>
            <a:custGeom>
              <a:avLst/>
              <a:gdLst/>
              <a:ahLst/>
              <a:cxnLst/>
              <a:rect l="l" t="t" r="r" b="b"/>
              <a:pathLst>
                <a:path w="129623" h="74995" extrusionOk="0">
                  <a:moveTo>
                    <a:pt x="128018" y="45689"/>
                  </a:moveTo>
                  <a:cubicBezTo>
                    <a:pt x="124482" y="53623"/>
                    <a:pt x="118341" y="60110"/>
                    <a:pt x="110623" y="64072"/>
                  </a:cubicBezTo>
                  <a:cubicBezTo>
                    <a:pt x="81812" y="78636"/>
                    <a:pt x="47801" y="78636"/>
                    <a:pt x="18990" y="64072"/>
                  </a:cubicBezTo>
                  <a:cubicBezTo>
                    <a:pt x="11271" y="60110"/>
                    <a:pt x="5131" y="53623"/>
                    <a:pt x="1595" y="45689"/>
                  </a:cubicBezTo>
                  <a:cubicBezTo>
                    <a:pt x="-3158" y="33497"/>
                    <a:pt x="2735" y="20448"/>
                    <a:pt x="18990" y="10923"/>
                  </a:cubicBezTo>
                  <a:cubicBezTo>
                    <a:pt x="47801" y="-3641"/>
                    <a:pt x="81812" y="-3641"/>
                    <a:pt x="110623" y="10923"/>
                  </a:cubicBezTo>
                  <a:cubicBezTo>
                    <a:pt x="126972" y="19971"/>
                    <a:pt x="132771" y="33021"/>
                    <a:pt x="128018" y="456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Google Shape;478;p15"/>
            <p:cNvSpPr/>
            <p:nvPr/>
          </p:nvSpPr>
          <p:spPr>
            <a:xfrm>
              <a:off x="3395112" y="3888323"/>
              <a:ext cx="126148" cy="58707"/>
            </a:xfrm>
            <a:custGeom>
              <a:avLst/>
              <a:gdLst/>
              <a:ahLst/>
              <a:cxnLst/>
              <a:rect l="l" t="t" r="r" b="b"/>
              <a:pathLst>
                <a:path w="126148" h="58707" extrusionOk="0">
                  <a:moveTo>
                    <a:pt x="126149" y="29401"/>
                  </a:moveTo>
                  <a:cubicBezTo>
                    <a:pt x="122613" y="37336"/>
                    <a:pt x="116472" y="43822"/>
                    <a:pt x="108754" y="47784"/>
                  </a:cubicBezTo>
                  <a:cubicBezTo>
                    <a:pt x="79942" y="62348"/>
                    <a:pt x="45932" y="62348"/>
                    <a:pt x="17120" y="47784"/>
                  </a:cubicBezTo>
                  <a:cubicBezTo>
                    <a:pt x="6959" y="47051"/>
                    <a:pt x="-683" y="38202"/>
                    <a:pt x="48" y="28030"/>
                  </a:cubicBezTo>
                  <a:cubicBezTo>
                    <a:pt x="704" y="18867"/>
                    <a:pt x="7976" y="11580"/>
                    <a:pt x="17120" y="10923"/>
                  </a:cubicBezTo>
                  <a:cubicBezTo>
                    <a:pt x="45932" y="-3641"/>
                    <a:pt x="79942" y="-3641"/>
                    <a:pt x="108754" y="10923"/>
                  </a:cubicBezTo>
                  <a:cubicBezTo>
                    <a:pt x="116491" y="14904"/>
                    <a:pt x="122632" y="21429"/>
                    <a:pt x="126149" y="29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Google Shape;479;p15"/>
            <p:cNvSpPr/>
            <p:nvPr/>
          </p:nvSpPr>
          <p:spPr>
            <a:xfrm>
              <a:off x="3543979" y="3964737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321" y="12585"/>
                    <a:pt x="13745" y="14366"/>
                    <a:pt x="11312" y="16328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Google Shape;480;p15"/>
            <p:cNvSpPr/>
            <p:nvPr/>
          </p:nvSpPr>
          <p:spPr>
            <a:xfrm>
              <a:off x="3543979" y="3941061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9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9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Google Shape;481;p15"/>
            <p:cNvSpPr/>
            <p:nvPr/>
          </p:nvSpPr>
          <p:spPr>
            <a:xfrm>
              <a:off x="5673026" y="4464079"/>
              <a:ext cx="468241" cy="270891"/>
            </a:xfrm>
            <a:custGeom>
              <a:avLst/>
              <a:gdLst/>
              <a:ahLst/>
              <a:cxnLst/>
              <a:rect l="l" t="t" r="r" b="b"/>
              <a:pathLst>
                <a:path w="468241" h="270891" extrusionOk="0">
                  <a:moveTo>
                    <a:pt x="468242" y="135445"/>
                  </a:moveTo>
                  <a:cubicBezTo>
                    <a:pt x="468242" y="210250"/>
                    <a:pt x="363422" y="270891"/>
                    <a:pt x="234121" y="270891"/>
                  </a:cubicBezTo>
                  <a:cubicBezTo>
                    <a:pt x="104819" y="270891"/>
                    <a:pt x="0" y="210250"/>
                    <a:pt x="0" y="135445"/>
                  </a:cubicBezTo>
                  <a:cubicBezTo>
                    <a:pt x="0" y="60641"/>
                    <a:pt x="104819" y="0"/>
                    <a:pt x="234121" y="0"/>
                  </a:cubicBezTo>
                  <a:cubicBezTo>
                    <a:pt x="363422" y="0"/>
                    <a:pt x="468242" y="60641"/>
                    <a:pt x="468242" y="1354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Google Shape;482;p15"/>
            <p:cNvSpPr/>
            <p:nvPr/>
          </p:nvSpPr>
          <p:spPr>
            <a:xfrm>
              <a:off x="5819482" y="3280817"/>
              <a:ext cx="243195" cy="356577"/>
            </a:xfrm>
            <a:custGeom>
              <a:avLst/>
              <a:gdLst/>
              <a:ahLst/>
              <a:cxnLst/>
              <a:rect l="l" t="t" r="r" b="b"/>
              <a:pathLst>
                <a:path w="243195" h="356577" extrusionOk="0">
                  <a:moveTo>
                    <a:pt x="85669" y="11781"/>
                  </a:moveTo>
                  <a:cubicBezTo>
                    <a:pt x="95174" y="-3744"/>
                    <a:pt x="169318" y="-14031"/>
                    <a:pt x="193652" y="48738"/>
                  </a:cubicBezTo>
                  <a:cubicBezTo>
                    <a:pt x="203157" y="72551"/>
                    <a:pt x="201446" y="133416"/>
                    <a:pt x="209145" y="171611"/>
                  </a:cubicBezTo>
                  <a:cubicBezTo>
                    <a:pt x="216845" y="209806"/>
                    <a:pt x="235000" y="231523"/>
                    <a:pt x="241559" y="262479"/>
                  </a:cubicBezTo>
                  <a:cubicBezTo>
                    <a:pt x="248118" y="293436"/>
                    <a:pt x="237472" y="345442"/>
                    <a:pt x="162854" y="354681"/>
                  </a:cubicBezTo>
                  <a:cubicBezTo>
                    <a:pt x="88236" y="363921"/>
                    <a:pt x="30917" y="337632"/>
                    <a:pt x="13332" y="313819"/>
                  </a:cubicBezTo>
                  <a:cubicBezTo>
                    <a:pt x="-4253" y="290007"/>
                    <a:pt x="-4634" y="239334"/>
                    <a:pt x="13332" y="212092"/>
                  </a:cubicBezTo>
                  <a:cubicBezTo>
                    <a:pt x="31297" y="184851"/>
                    <a:pt x="45556" y="162848"/>
                    <a:pt x="45080" y="127415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15"/>
            <p:cNvSpPr/>
            <p:nvPr/>
          </p:nvSpPr>
          <p:spPr>
            <a:xfrm>
              <a:off x="5837923" y="3277536"/>
              <a:ext cx="116085" cy="143945"/>
            </a:xfrm>
            <a:custGeom>
              <a:avLst/>
              <a:gdLst/>
              <a:ahLst/>
              <a:cxnLst/>
              <a:rect l="l" t="t" r="r" b="b"/>
              <a:pathLst>
                <a:path w="116085" h="143945" extrusionOk="0">
                  <a:moveTo>
                    <a:pt x="116086" y="4300"/>
                  </a:moveTo>
                  <a:cubicBezTo>
                    <a:pt x="116086" y="4300"/>
                    <a:pt x="60383" y="-11798"/>
                    <a:pt x="26639" y="18301"/>
                  </a:cubicBezTo>
                  <a:cubicBezTo>
                    <a:pt x="3978" y="39285"/>
                    <a:pt x="-5176" y="71137"/>
                    <a:pt x="2875" y="100979"/>
                  </a:cubicBezTo>
                  <a:cubicBezTo>
                    <a:pt x="7343" y="118600"/>
                    <a:pt x="16373" y="142603"/>
                    <a:pt x="30346" y="143936"/>
                  </a:cubicBezTo>
                  <a:cubicBezTo>
                    <a:pt x="44319" y="145270"/>
                    <a:pt x="116086" y="4300"/>
                    <a:pt x="116086" y="4300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15"/>
            <p:cNvSpPr/>
            <p:nvPr/>
          </p:nvSpPr>
          <p:spPr>
            <a:xfrm>
              <a:off x="5860663" y="3433950"/>
              <a:ext cx="143677" cy="161015"/>
            </a:xfrm>
            <a:custGeom>
              <a:avLst/>
              <a:gdLst/>
              <a:ahLst/>
              <a:cxnLst/>
              <a:rect l="l" t="t" r="r" b="b"/>
              <a:pathLst>
                <a:path w="143677" h="161015" extrusionOk="0">
                  <a:moveTo>
                    <a:pt x="114638" y="0"/>
                  </a:moveTo>
                  <a:cubicBezTo>
                    <a:pt x="114638" y="0"/>
                    <a:pt x="110931" y="62103"/>
                    <a:pt x="112072" y="66675"/>
                  </a:cubicBezTo>
                  <a:cubicBezTo>
                    <a:pt x="113212" y="71247"/>
                    <a:pt x="136406" y="76200"/>
                    <a:pt x="142965" y="81153"/>
                  </a:cubicBezTo>
                  <a:cubicBezTo>
                    <a:pt x="149524" y="86106"/>
                    <a:pt x="109220" y="149638"/>
                    <a:pt x="88783" y="158972"/>
                  </a:cubicBezTo>
                  <a:cubicBezTo>
                    <a:pt x="68346" y="168307"/>
                    <a:pt x="4944" y="144399"/>
                    <a:pt x="477" y="112871"/>
                  </a:cubicBezTo>
                  <a:cubicBezTo>
                    <a:pt x="-3515" y="83725"/>
                    <a:pt x="18632" y="61151"/>
                    <a:pt x="27187" y="53245"/>
                  </a:cubicBezTo>
                  <a:cubicBezTo>
                    <a:pt x="32995" y="52692"/>
                    <a:pt x="38841" y="52531"/>
                    <a:pt x="44678" y="52769"/>
                  </a:cubicBezTo>
                  <a:lnTo>
                    <a:pt x="46579" y="22670"/>
                  </a:lnTo>
                  <a:cubicBezTo>
                    <a:pt x="74335" y="13811"/>
                    <a:pt x="114638" y="0"/>
                    <a:pt x="114638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15"/>
            <p:cNvSpPr/>
            <p:nvPr/>
          </p:nvSpPr>
          <p:spPr>
            <a:xfrm>
              <a:off x="5729287" y="3551002"/>
              <a:ext cx="121787" cy="284211"/>
            </a:xfrm>
            <a:custGeom>
              <a:avLst/>
              <a:gdLst/>
              <a:ahLst/>
              <a:cxnLst/>
              <a:rect l="l" t="t" r="r" b="b"/>
              <a:pathLst>
                <a:path w="121787" h="284211" extrusionOk="0">
                  <a:moveTo>
                    <a:pt x="96303" y="391"/>
                  </a:moveTo>
                  <a:cubicBezTo>
                    <a:pt x="96303" y="-1418"/>
                    <a:pt x="86797" y="3630"/>
                    <a:pt x="86797" y="3725"/>
                  </a:cubicBezTo>
                  <a:cubicBezTo>
                    <a:pt x="86797" y="3820"/>
                    <a:pt x="82330" y="163269"/>
                    <a:pt x="74535" y="177747"/>
                  </a:cubicBezTo>
                  <a:lnTo>
                    <a:pt x="74535" y="177747"/>
                  </a:lnTo>
                  <a:cubicBezTo>
                    <a:pt x="54669" y="211560"/>
                    <a:pt x="2103" y="268901"/>
                    <a:pt x="772" y="275283"/>
                  </a:cubicBezTo>
                  <a:cubicBezTo>
                    <a:pt x="-3125" y="294333"/>
                    <a:pt x="8092" y="277283"/>
                    <a:pt x="26152" y="275283"/>
                  </a:cubicBezTo>
                  <a:cubicBezTo>
                    <a:pt x="36323" y="274044"/>
                    <a:pt x="96113" y="213466"/>
                    <a:pt x="109516" y="199654"/>
                  </a:cubicBezTo>
                  <a:lnTo>
                    <a:pt x="110371" y="200131"/>
                  </a:lnTo>
                  <a:lnTo>
                    <a:pt x="110371" y="198607"/>
                  </a:lnTo>
                  <a:lnTo>
                    <a:pt x="112082" y="196797"/>
                  </a:lnTo>
                  <a:cubicBezTo>
                    <a:pt x="112424" y="192482"/>
                    <a:pt x="112424" y="188158"/>
                    <a:pt x="112082" y="183843"/>
                  </a:cubicBezTo>
                  <a:cubicBezTo>
                    <a:pt x="137272" y="10583"/>
                    <a:pt x="106664" y="-942"/>
                    <a:pt x="96303" y="39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15"/>
            <p:cNvSpPr/>
            <p:nvPr/>
          </p:nvSpPr>
          <p:spPr>
            <a:xfrm>
              <a:off x="5818929" y="3486611"/>
              <a:ext cx="209320" cy="241045"/>
            </a:xfrm>
            <a:custGeom>
              <a:avLst/>
              <a:gdLst/>
              <a:ahLst/>
              <a:cxnLst/>
              <a:rect l="l" t="t" r="r" b="b"/>
              <a:pathLst>
                <a:path w="209320" h="241045" extrusionOk="0">
                  <a:moveTo>
                    <a:pt x="164832" y="20110"/>
                  </a:moveTo>
                  <a:cubicBezTo>
                    <a:pt x="182322" y="22777"/>
                    <a:pt x="202189" y="32111"/>
                    <a:pt x="204945" y="41636"/>
                  </a:cubicBezTo>
                  <a:cubicBezTo>
                    <a:pt x="212141" y="76098"/>
                    <a:pt x="210439" y="111835"/>
                    <a:pt x="200002" y="145459"/>
                  </a:cubicBezTo>
                  <a:cubicBezTo>
                    <a:pt x="184889" y="185464"/>
                    <a:pt x="174718" y="210895"/>
                    <a:pt x="165973" y="228136"/>
                  </a:cubicBezTo>
                  <a:cubicBezTo>
                    <a:pt x="165973" y="228136"/>
                    <a:pt x="90594" y="260521"/>
                    <a:pt x="29758" y="222706"/>
                  </a:cubicBezTo>
                  <a:cubicBezTo>
                    <a:pt x="29758" y="222706"/>
                    <a:pt x="25576" y="179844"/>
                    <a:pt x="25291" y="156889"/>
                  </a:cubicBezTo>
                  <a:cubicBezTo>
                    <a:pt x="-30792" y="107835"/>
                    <a:pt x="17211" y="47351"/>
                    <a:pt x="64739" y="393"/>
                  </a:cubicBezTo>
                  <a:cubicBezTo>
                    <a:pt x="70433" y="-131"/>
                    <a:pt x="76155" y="-131"/>
                    <a:pt x="81849" y="393"/>
                  </a:cubicBezTo>
                  <a:cubicBezTo>
                    <a:pt x="81849" y="393"/>
                    <a:pt x="39454" y="50685"/>
                    <a:pt x="68921" y="79260"/>
                  </a:cubicBezTo>
                  <a:cubicBezTo>
                    <a:pt x="132133" y="59638"/>
                    <a:pt x="144680" y="31063"/>
                    <a:pt x="164832" y="2011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15"/>
            <p:cNvSpPr/>
            <p:nvPr/>
          </p:nvSpPr>
          <p:spPr>
            <a:xfrm>
              <a:off x="5856166" y="3289038"/>
              <a:ext cx="154042" cy="190250"/>
            </a:xfrm>
            <a:custGeom>
              <a:avLst/>
              <a:gdLst/>
              <a:ahLst/>
              <a:cxnLst/>
              <a:rect l="l" t="t" r="r" b="b"/>
              <a:pathLst>
                <a:path w="154042" h="190250" extrusionOk="0">
                  <a:moveTo>
                    <a:pt x="3263" y="67854"/>
                  </a:moveTo>
                  <a:lnTo>
                    <a:pt x="3263" y="67854"/>
                  </a:lnTo>
                  <a:cubicBezTo>
                    <a:pt x="9442" y="27945"/>
                    <a:pt x="38244" y="-2250"/>
                    <a:pt x="79308" y="132"/>
                  </a:cubicBezTo>
                  <a:cubicBezTo>
                    <a:pt x="122872" y="2484"/>
                    <a:pt x="156274" y="39784"/>
                    <a:pt x="153926" y="83437"/>
                  </a:cubicBezTo>
                  <a:cubicBezTo>
                    <a:pt x="152586" y="108288"/>
                    <a:pt x="139668" y="131053"/>
                    <a:pt x="119041" y="144912"/>
                  </a:cubicBezTo>
                  <a:cubicBezTo>
                    <a:pt x="117624" y="150960"/>
                    <a:pt x="115486" y="156808"/>
                    <a:pt x="112672" y="162342"/>
                  </a:cubicBezTo>
                  <a:cubicBezTo>
                    <a:pt x="98129" y="179297"/>
                    <a:pt x="59441" y="190060"/>
                    <a:pt x="46704" y="190251"/>
                  </a:cubicBezTo>
                  <a:cubicBezTo>
                    <a:pt x="35677" y="190251"/>
                    <a:pt x="26172" y="180059"/>
                    <a:pt x="15811" y="162914"/>
                  </a:cubicBezTo>
                  <a:cubicBezTo>
                    <a:pt x="-5672" y="127195"/>
                    <a:pt x="-158" y="87571"/>
                    <a:pt x="3263" y="67854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15"/>
            <p:cNvSpPr/>
            <p:nvPr/>
          </p:nvSpPr>
          <p:spPr>
            <a:xfrm>
              <a:off x="5862376" y="3287995"/>
              <a:ext cx="154704" cy="145954"/>
            </a:xfrm>
            <a:custGeom>
              <a:avLst/>
              <a:gdLst/>
              <a:ahLst/>
              <a:cxnLst/>
              <a:rect l="l" t="t" r="r" b="b"/>
              <a:pathLst>
                <a:path w="154704" h="145954" extrusionOk="0">
                  <a:moveTo>
                    <a:pt x="85930" y="1937"/>
                  </a:moveTo>
                  <a:cubicBezTo>
                    <a:pt x="114447" y="7557"/>
                    <a:pt x="138400" y="15748"/>
                    <a:pt x="146290" y="44038"/>
                  </a:cubicBezTo>
                  <a:cubicBezTo>
                    <a:pt x="151613" y="63659"/>
                    <a:pt x="158647" y="101188"/>
                    <a:pt x="151993" y="116523"/>
                  </a:cubicBezTo>
                  <a:lnTo>
                    <a:pt x="147811" y="127857"/>
                  </a:lnTo>
                  <a:lnTo>
                    <a:pt x="112926" y="145955"/>
                  </a:lnTo>
                  <a:cubicBezTo>
                    <a:pt x="112926" y="145955"/>
                    <a:pt x="96576" y="132334"/>
                    <a:pt x="101709" y="92424"/>
                  </a:cubicBezTo>
                  <a:cubicBezTo>
                    <a:pt x="101510" y="87043"/>
                    <a:pt x="99798" y="81823"/>
                    <a:pt x="96766" y="77375"/>
                  </a:cubicBezTo>
                  <a:cubicBezTo>
                    <a:pt x="94580" y="73594"/>
                    <a:pt x="92954" y="69517"/>
                    <a:pt x="91919" y="65278"/>
                  </a:cubicBezTo>
                  <a:cubicBezTo>
                    <a:pt x="87774" y="54496"/>
                    <a:pt x="79685" y="45704"/>
                    <a:pt x="69295" y="40704"/>
                  </a:cubicBezTo>
                  <a:cubicBezTo>
                    <a:pt x="43345" y="26130"/>
                    <a:pt x="5323" y="38704"/>
                    <a:pt x="0" y="44038"/>
                  </a:cubicBezTo>
                  <a:cubicBezTo>
                    <a:pt x="15142" y="11452"/>
                    <a:pt x="50959" y="-6102"/>
                    <a:pt x="85930" y="193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15"/>
            <p:cNvSpPr/>
            <p:nvPr/>
          </p:nvSpPr>
          <p:spPr>
            <a:xfrm>
              <a:off x="5888298" y="4552945"/>
              <a:ext cx="121626" cy="93085"/>
            </a:xfrm>
            <a:custGeom>
              <a:avLst/>
              <a:gdLst/>
              <a:ahLst/>
              <a:cxnLst/>
              <a:rect l="l" t="t" r="r" b="b"/>
              <a:pathLst>
                <a:path w="121626" h="93085" extrusionOk="0">
                  <a:moveTo>
                    <a:pt x="112478" y="2"/>
                  </a:moveTo>
                  <a:cubicBezTo>
                    <a:pt x="97840" y="11908"/>
                    <a:pt x="75121" y="3717"/>
                    <a:pt x="74456" y="4765"/>
                  </a:cubicBezTo>
                  <a:cubicBezTo>
                    <a:pt x="57422" y="19395"/>
                    <a:pt x="39590" y="33073"/>
                    <a:pt x="21035" y="45722"/>
                  </a:cubicBezTo>
                  <a:cubicBezTo>
                    <a:pt x="11529" y="52866"/>
                    <a:pt x="-2254" y="62486"/>
                    <a:pt x="313" y="76202"/>
                  </a:cubicBezTo>
                  <a:cubicBezTo>
                    <a:pt x="4875" y="100872"/>
                    <a:pt x="44228" y="93347"/>
                    <a:pt x="59057" y="85727"/>
                  </a:cubicBezTo>
                  <a:cubicBezTo>
                    <a:pt x="73886" y="78107"/>
                    <a:pt x="86053" y="65725"/>
                    <a:pt x="100121" y="57152"/>
                  </a:cubicBezTo>
                  <a:cubicBezTo>
                    <a:pt x="110102" y="50961"/>
                    <a:pt x="119987" y="47627"/>
                    <a:pt x="121604" y="35054"/>
                  </a:cubicBezTo>
                  <a:cubicBezTo>
                    <a:pt x="122079" y="27149"/>
                    <a:pt x="115045" y="-284"/>
                    <a:pt x="11247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15"/>
            <p:cNvSpPr/>
            <p:nvPr/>
          </p:nvSpPr>
          <p:spPr>
            <a:xfrm>
              <a:off x="5888421" y="4582665"/>
              <a:ext cx="121131" cy="63346"/>
            </a:xfrm>
            <a:custGeom>
              <a:avLst/>
              <a:gdLst/>
              <a:ahLst/>
              <a:cxnLst/>
              <a:rect l="l" t="t" r="r" b="b"/>
              <a:pathLst>
                <a:path w="121131" h="63346" extrusionOk="0">
                  <a:moveTo>
                    <a:pt x="120910" y="0"/>
                  </a:moveTo>
                  <a:cubicBezTo>
                    <a:pt x="118914" y="12192"/>
                    <a:pt x="109219" y="15526"/>
                    <a:pt x="99238" y="21717"/>
                  </a:cubicBezTo>
                  <a:cubicBezTo>
                    <a:pt x="84979" y="30575"/>
                    <a:pt x="72432" y="43434"/>
                    <a:pt x="57604" y="50959"/>
                  </a:cubicBezTo>
                  <a:cubicBezTo>
                    <a:pt x="42775" y="58484"/>
                    <a:pt x="9601" y="64770"/>
                    <a:pt x="0" y="47244"/>
                  </a:cubicBezTo>
                  <a:cubicBezTo>
                    <a:pt x="5228" y="70961"/>
                    <a:pt x="43916" y="63532"/>
                    <a:pt x="58554" y="56007"/>
                  </a:cubicBezTo>
                  <a:cubicBezTo>
                    <a:pt x="73193" y="48482"/>
                    <a:pt x="85550" y="36004"/>
                    <a:pt x="99618" y="27432"/>
                  </a:cubicBezTo>
                  <a:cubicBezTo>
                    <a:pt x="109599" y="21241"/>
                    <a:pt x="119484" y="17907"/>
                    <a:pt x="121101" y="5334"/>
                  </a:cubicBezTo>
                  <a:cubicBezTo>
                    <a:pt x="121177" y="3553"/>
                    <a:pt x="121110" y="1772"/>
                    <a:pt x="12091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15"/>
            <p:cNvSpPr/>
            <p:nvPr/>
          </p:nvSpPr>
          <p:spPr>
            <a:xfrm>
              <a:off x="5795742" y="4532466"/>
              <a:ext cx="111395" cy="86487"/>
            </a:xfrm>
            <a:custGeom>
              <a:avLst/>
              <a:gdLst/>
              <a:ahLst/>
              <a:cxnLst/>
              <a:rect l="l" t="t" r="r" b="b"/>
              <a:pathLst>
                <a:path w="111395" h="86487" extrusionOk="0">
                  <a:moveTo>
                    <a:pt x="102659" y="2"/>
                  </a:moveTo>
                  <a:cubicBezTo>
                    <a:pt x="89257" y="10956"/>
                    <a:pt x="69105" y="4765"/>
                    <a:pt x="68154" y="5812"/>
                  </a:cubicBezTo>
                  <a:cubicBezTo>
                    <a:pt x="52537" y="19109"/>
                    <a:pt x="36225" y="31578"/>
                    <a:pt x="19296" y="43151"/>
                  </a:cubicBezTo>
                  <a:cubicBezTo>
                    <a:pt x="10931" y="49723"/>
                    <a:pt x="-2091" y="58486"/>
                    <a:pt x="285" y="71059"/>
                  </a:cubicBezTo>
                  <a:cubicBezTo>
                    <a:pt x="4467" y="93633"/>
                    <a:pt x="40493" y="86680"/>
                    <a:pt x="54181" y="79822"/>
                  </a:cubicBezTo>
                  <a:cubicBezTo>
                    <a:pt x="67869" y="72964"/>
                    <a:pt x="78800" y="61438"/>
                    <a:pt x="91728" y="53437"/>
                  </a:cubicBezTo>
                  <a:cubicBezTo>
                    <a:pt x="101234" y="47722"/>
                    <a:pt x="109884" y="44770"/>
                    <a:pt x="111309" y="33149"/>
                  </a:cubicBezTo>
                  <a:cubicBezTo>
                    <a:pt x="112260" y="26101"/>
                    <a:pt x="105036" y="-283"/>
                    <a:pt x="102659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15"/>
            <p:cNvSpPr/>
            <p:nvPr/>
          </p:nvSpPr>
          <p:spPr>
            <a:xfrm>
              <a:off x="5796313" y="4560948"/>
              <a:ext cx="110894" cy="58013"/>
            </a:xfrm>
            <a:custGeom>
              <a:avLst/>
              <a:gdLst/>
              <a:ahLst/>
              <a:cxnLst/>
              <a:rect l="l" t="t" r="r" b="b"/>
              <a:pathLst>
                <a:path w="110894" h="58013" extrusionOk="0">
                  <a:moveTo>
                    <a:pt x="110644" y="0"/>
                  </a:moveTo>
                  <a:cubicBezTo>
                    <a:pt x="108838" y="11144"/>
                    <a:pt x="99903" y="14192"/>
                    <a:pt x="90778" y="19812"/>
                  </a:cubicBezTo>
                  <a:cubicBezTo>
                    <a:pt x="77755" y="28004"/>
                    <a:pt x="66254" y="39719"/>
                    <a:pt x="52756" y="46672"/>
                  </a:cubicBezTo>
                  <a:cubicBezTo>
                    <a:pt x="39258" y="53626"/>
                    <a:pt x="8840" y="59341"/>
                    <a:pt x="0" y="43244"/>
                  </a:cubicBezTo>
                  <a:cubicBezTo>
                    <a:pt x="4753" y="64961"/>
                    <a:pt x="40208" y="58198"/>
                    <a:pt x="53706" y="51340"/>
                  </a:cubicBezTo>
                  <a:cubicBezTo>
                    <a:pt x="67204" y="44482"/>
                    <a:pt x="78325" y="32956"/>
                    <a:pt x="91253" y="24955"/>
                  </a:cubicBezTo>
                  <a:cubicBezTo>
                    <a:pt x="100758" y="19240"/>
                    <a:pt x="109408" y="16288"/>
                    <a:pt x="110834" y="4667"/>
                  </a:cubicBezTo>
                  <a:cubicBezTo>
                    <a:pt x="110958" y="3105"/>
                    <a:pt x="110891" y="1543"/>
                    <a:pt x="11064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15"/>
            <p:cNvSpPr/>
            <p:nvPr/>
          </p:nvSpPr>
          <p:spPr>
            <a:xfrm>
              <a:off x="5813683" y="3728558"/>
              <a:ext cx="237954" cy="833275"/>
            </a:xfrm>
            <a:custGeom>
              <a:avLst/>
              <a:gdLst/>
              <a:ahLst/>
              <a:cxnLst/>
              <a:rect l="l" t="t" r="r" b="b"/>
              <a:pathLst>
                <a:path w="237954" h="833275" extrusionOk="0">
                  <a:moveTo>
                    <a:pt x="6013" y="123825"/>
                  </a:moveTo>
                  <a:cubicBezTo>
                    <a:pt x="12477" y="73342"/>
                    <a:pt x="31013" y="0"/>
                    <a:pt x="31013" y="0"/>
                  </a:cubicBezTo>
                  <a:cubicBezTo>
                    <a:pt x="48541" y="8201"/>
                    <a:pt x="67495" y="12897"/>
                    <a:pt x="86810" y="13811"/>
                  </a:cubicBezTo>
                  <a:cubicBezTo>
                    <a:pt x="115136" y="13716"/>
                    <a:pt x="143396" y="10973"/>
                    <a:pt x="171219" y="5620"/>
                  </a:cubicBezTo>
                  <a:cubicBezTo>
                    <a:pt x="180287" y="21517"/>
                    <a:pt x="190220" y="36909"/>
                    <a:pt x="200971" y="51721"/>
                  </a:cubicBezTo>
                  <a:cubicBezTo>
                    <a:pt x="215515" y="71914"/>
                    <a:pt x="243746" y="116109"/>
                    <a:pt x="236902" y="193357"/>
                  </a:cubicBezTo>
                  <a:cubicBezTo>
                    <a:pt x="232435" y="243840"/>
                    <a:pt x="204203" y="458248"/>
                    <a:pt x="204203" y="458248"/>
                  </a:cubicBezTo>
                  <a:cubicBezTo>
                    <a:pt x="215201" y="494290"/>
                    <a:pt x="221056" y="531714"/>
                    <a:pt x="221598" y="569405"/>
                  </a:cubicBezTo>
                  <a:cubicBezTo>
                    <a:pt x="218937" y="614229"/>
                    <a:pt x="213024" y="658796"/>
                    <a:pt x="203918" y="702755"/>
                  </a:cubicBezTo>
                  <a:lnTo>
                    <a:pt x="187093" y="824389"/>
                  </a:lnTo>
                  <a:cubicBezTo>
                    <a:pt x="187093" y="824389"/>
                    <a:pt x="164660" y="840676"/>
                    <a:pt x="149071" y="829151"/>
                  </a:cubicBezTo>
                  <a:lnTo>
                    <a:pt x="151067" y="710089"/>
                  </a:lnTo>
                  <a:cubicBezTo>
                    <a:pt x="149166" y="680942"/>
                    <a:pt x="146219" y="637984"/>
                    <a:pt x="144413" y="610552"/>
                  </a:cubicBezTo>
                  <a:cubicBezTo>
                    <a:pt x="141371" y="565785"/>
                    <a:pt x="133387" y="494824"/>
                    <a:pt x="131106" y="477202"/>
                  </a:cubicBezTo>
                  <a:cubicBezTo>
                    <a:pt x="128824" y="459581"/>
                    <a:pt x="123121" y="428434"/>
                    <a:pt x="120364" y="393763"/>
                  </a:cubicBezTo>
                  <a:cubicBezTo>
                    <a:pt x="117608" y="359092"/>
                    <a:pt x="104680" y="182594"/>
                    <a:pt x="104680" y="182594"/>
                  </a:cubicBezTo>
                  <a:lnTo>
                    <a:pt x="102874" y="215646"/>
                  </a:lnTo>
                  <a:cubicBezTo>
                    <a:pt x="102874" y="215646"/>
                    <a:pt x="101068" y="269272"/>
                    <a:pt x="93369" y="335470"/>
                  </a:cubicBezTo>
                  <a:cubicBezTo>
                    <a:pt x="85669" y="401669"/>
                    <a:pt x="83008" y="430720"/>
                    <a:pt x="83008" y="430720"/>
                  </a:cubicBezTo>
                  <a:cubicBezTo>
                    <a:pt x="90308" y="444074"/>
                    <a:pt x="95412" y="458514"/>
                    <a:pt x="98121" y="473488"/>
                  </a:cubicBezTo>
                  <a:cubicBezTo>
                    <a:pt x="99452" y="487775"/>
                    <a:pt x="115707" y="600932"/>
                    <a:pt x="106011" y="658463"/>
                  </a:cubicBezTo>
                  <a:lnTo>
                    <a:pt x="85954" y="804863"/>
                  </a:lnTo>
                  <a:cubicBezTo>
                    <a:pt x="75869" y="811882"/>
                    <a:pt x="63018" y="813587"/>
                    <a:pt x="51449" y="809434"/>
                  </a:cubicBezTo>
                  <a:lnTo>
                    <a:pt x="39663" y="661892"/>
                  </a:lnTo>
                  <a:cubicBezTo>
                    <a:pt x="31773" y="605790"/>
                    <a:pt x="15043" y="486823"/>
                    <a:pt x="12477" y="471392"/>
                  </a:cubicBezTo>
                  <a:cubicBezTo>
                    <a:pt x="6773" y="440226"/>
                    <a:pt x="3408" y="408670"/>
                    <a:pt x="2401" y="376999"/>
                  </a:cubicBezTo>
                  <a:cubicBezTo>
                    <a:pt x="-1782" y="312991"/>
                    <a:pt x="-451" y="174212"/>
                    <a:pt x="6013" y="12382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15"/>
            <p:cNvSpPr/>
            <p:nvPr/>
          </p:nvSpPr>
          <p:spPr>
            <a:xfrm>
              <a:off x="5803516" y="3708175"/>
              <a:ext cx="253612" cy="553963"/>
            </a:xfrm>
            <a:custGeom>
              <a:avLst/>
              <a:gdLst/>
              <a:ahLst/>
              <a:cxnLst/>
              <a:rect l="l" t="t" r="r" b="b"/>
              <a:pathLst>
                <a:path w="253612" h="553963" extrusionOk="0">
                  <a:moveTo>
                    <a:pt x="181386" y="6572"/>
                  </a:moveTo>
                  <a:lnTo>
                    <a:pt x="224731" y="93726"/>
                  </a:lnTo>
                  <a:cubicBezTo>
                    <a:pt x="224731" y="93726"/>
                    <a:pt x="291270" y="190690"/>
                    <a:pt x="222355" y="439960"/>
                  </a:cubicBezTo>
                  <a:lnTo>
                    <a:pt x="235187" y="516922"/>
                  </a:lnTo>
                  <a:cubicBezTo>
                    <a:pt x="235187" y="516922"/>
                    <a:pt x="105532" y="600265"/>
                    <a:pt x="18746" y="516922"/>
                  </a:cubicBezTo>
                  <a:cubicBezTo>
                    <a:pt x="18746" y="516922"/>
                    <a:pt x="-11291" y="286512"/>
                    <a:pt x="4678" y="180308"/>
                  </a:cubicBezTo>
                  <a:cubicBezTo>
                    <a:pt x="13613" y="119272"/>
                    <a:pt x="27121" y="59007"/>
                    <a:pt x="45077" y="0"/>
                  </a:cubicBezTo>
                  <a:cubicBezTo>
                    <a:pt x="45077" y="0"/>
                    <a:pt x="66369" y="23527"/>
                    <a:pt x="175683" y="8001"/>
                  </a:cubicBezTo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p15"/>
            <p:cNvSpPr/>
            <p:nvPr/>
          </p:nvSpPr>
          <p:spPr>
            <a:xfrm>
              <a:off x="5812662" y="3486508"/>
              <a:ext cx="71005" cy="74600"/>
            </a:xfrm>
            <a:custGeom>
              <a:avLst/>
              <a:gdLst/>
              <a:ahLst/>
              <a:cxnLst/>
              <a:rect l="l" t="t" r="r" b="b"/>
              <a:pathLst>
                <a:path w="71005" h="74600" extrusionOk="0">
                  <a:moveTo>
                    <a:pt x="71006" y="496"/>
                  </a:moveTo>
                  <a:cubicBezTo>
                    <a:pt x="71006" y="496"/>
                    <a:pt x="36596" y="-10077"/>
                    <a:pt x="0" y="66409"/>
                  </a:cubicBezTo>
                  <a:lnTo>
                    <a:pt x="13688" y="74600"/>
                  </a:lnTo>
                  <a:cubicBezTo>
                    <a:pt x="13688" y="74600"/>
                    <a:pt x="49714" y="20117"/>
                    <a:pt x="71006" y="49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15"/>
            <p:cNvSpPr/>
            <p:nvPr/>
          </p:nvSpPr>
          <p:spPr>
            <a:xfrm>
              <a:off x="5614947" y="3815235"/>
              <a:ext cx="254367" cy="147732"/>
            </a:xfrm>
            <a:custGeom>
              <a:avLst/>
              <a:gdLst/>
              <a:ahLst/>
              <a:cxnLst/>
              <a:rect l="l" t="t" r="r" b="b"/>
              <a:pathLst>
                <a:path w="254367" h="147732" extrusionOk="0">
                  <a:moveTo>
                    <a:pt x="0" y="86201"/>
                  </a:moveTo>
                  <a:lnTo>
                    <a:pt x="148096" y="0"/>
                  </a:lnTo>
                  <a:lnTo>
                    <a:pt x="254368" y="61436"/>
                  </a:lnTo>
                  <a:lnTo>
                    <a:pt x="106272" y="147733"/>
                  </a:lnTo>
                  <a:lnTo>
                    <a:pt x="0" y="8620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15"/>
            <p:cNvSpPr/>
            <p:nvPr/>
          </p:nvSpPr>
          <p:spPr>
            <a:xfrm>
              <a:off x="5694413" y="3821487"/>
              <a:ext cx="53706" cy="44771"/>
            </a:xfrm>
            <a:custGeom>
              <a:avLst/>
              <a:gdLst/>
              <a:ahLst/>
              <a:cxnLst/>
              <a:rect l="l" t="t" r="r" b="b"/>
              <a:pathLst>
                <a:path w="53706" h="44771" extrusionOk="0">
                  <a:moveTo>
                    <a:pt x="49524" y="35"/>
                  </a:moveTo>
                  <a:cubicBezTo>
                    <a:pt x="40237" y="968"/>
                    <a:pt x="31254" y="3892"/>
                    <a:pt x="23194" y="8607"/>
                  </a:cubicBezTo>
                  <a:cubicBezTo>
                    <a:pt x="20228" y="11198"/>
                    <a:pt x="17053" y="13522"/>
                    <a:pt x="13688" y="15561"/>
                  </a:cubicBezTo>
                  <a:cubicBezTo>
                    <a:pt x="12262" y="16227"/>
                    <a:pt x="10836" y="17180"/>
                    <a:pt x="9315" y="17846"/>
                  </a:cubicBezTo>
                  <a:cubicBezTo>
                    <a:pt x="7053" y="18675"/>
                    <a:pt x="5000" y="20009"/>
                    <a:pt x="3327" y="21752"/>
                  </a:cubicBezTo>
                  <a:cubicBezTo>
                    <a:pt x="1673" y="24200"/>
                    <a:pt x="780" y="27086"/>
                    <a:pt x="760" y="30038"/>
                  </a:cubicBezTo>
                  <a:cubicBezTo>
                    <a:pt x="0" y="33572"/>
                    <a:pt x="-190" y="37211"/>
                    <a:pt x="190" y="40802"/>
                  </a:cubicBezTo>
                  <a:cubicBezTo>
                    <a:pt x="1521" y="46136"/>
                    <a:pt x="7034" y="45660"/>
                    <a:pt x="9696" y="41945"/>
                  </a:cubicBezTo>
                  <a:cubicBezTo>
                    <a:pt x="11141" y="40088"/>
                    <a:pt x="11968" y="37821"/>
                    <a:pt x="12072" y="35468"/>
                  </a:cubicBezTo>
                  <a:cubicBezTo>
                    <a:pt x="12234" y="30905"/>
                    <a:pt x="14562" y="26686"/>
                    <a:pt x="18346" y="24133"/>
                  </a:cubicBezTo>
                  <a:lnTo>
                    <a:pt x="53706" y="2130"/>
                  </a:lnTo>
                  <a:cubicBezTo>
                    <a:pt x="52870" y="644"/>
                    <a:pt x="51216" y="-184"/>
                    <a:pt x="49524" y="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15"/>
            <p:cNvSpPr/>
            <p:nvPr/>
          </p:nvSpPr>
          <p:spPr>
            <a:xfrm>
              <a:off x="5775008" y="3530248"/>
              <a:ext cx="253611" cy="322722"/>
            </a:xfrm>
            <a:custGeom>
              <a:avLst/>
              <a:gdLst/>
              <a:ahLst/>
              <a:cxnLst/>
              <a:rect l="l" t="t" r="r" b="b"/>
              <a:pathLst>
                <a:path w="253611" h="322722" extrusionOk="0">
                  <a:moveTo>
                    <a:pt x="250673" y="25527"/>
                  </a:moveTo>
                  <a:cubicBezTo>
                    <a:pt x="245826" y="5334"/>
                    <a:pt x="230046" y="11811"/>
                    <a:pt x="216453" y="0"/>
                  </a:cubicBezTo>
                  <a:cubicBezTo>
                    <a:pt x="184990" y="44672"/>
                    <a:pt x="205902" y="165449"/>
                    <a:pt x="210180" y="178308"/>
                  </a:cubicBezTo>
                  <a:lnTo>
                    <a:pt x="89270" y="255556"/>
                  </a:lnTo>
                  <a:lnTo>
                    <a:pt x="89270" y="255556"/>
                  </a:lnTo>
                  <a:lnTo>
                    <a:pt x="81095" y="260604"/>
                  </a:lnTo>
                  <a:cubicBezTo>
                    <a:pt x="67331" y="269662"/>
                    <a:pt x="52131" y="276301"/>
                    <a:pt x="36134" y="280225"/>
                  </a:cubicBezTo>
                  <a:cubicBezTo>
                    <a:pt x="24062" y="281654"/>
                    <a:pt x="17788" y="298704"/>
                    <a:pt x="4860" y="300228"/>
                  </a:cubicBezTo>
                  <a:cubicBezTo>
                    <a:pt x="2075" y="300333"/>
                    <a:pt x="-92" y="302666"/>
                    <a:pt x="3" y="305457"/>
                  </a:cubicBezTo>
                  <a:cubicBezTo>
                    <a:pt x="51" y="306753"/>
                    <a:pt x="602" y="307991"/>
                    <a:pt x="1533" y="308896"/>
                  </a:cubicBezTo>
                  <a:cubicBezTo>
                    <a:pt x="6667" y="313849"/>
                    <a:pt x="20545" y="309753"/>
                    <a:pt x="30050" y="298704"/>
                  </a:cubicBezTo>
                  <a:cubicBezTo>
                    <a:pt x="30002" y="298952"/>
                    <a:pt x="30002" y="299218"/>
                    <a:pt x="30050" y="299466"/>
                  </a:cubicBezTo>
                  <a:cubicBezTo>
                    <a:pt x="30202" y="303057"/>
                    <a:pt x="32227" y="306314"/>
                    <a:pt x="35373" y="308038"/>
                  </a:cubicBezTo>
                  <a:cubicBezTo>
                    <a:pt x="36067" y="308458"/>
                    <a:pt x="36846" y="308724"/>
                    <a:pt x="37655" y="308800"/>
                  </a:cubicBezTo>
                  <a:cubicBezTo>
                    <a:pt x="37655" y="309610"/>
                    <a:pt x="37883" y="310401"/>
                    <a:pt x="38320" y="311087"/>
                  </a:cubicBezTo>
                  <a:cubicBezTo>
                    <a:pt x="39708" y="313925"/>
                    <a:pt x="42417" y="315887"/>
                    <a:pt x="45544" y="316325"/>
                  </a:cubicBezTo>
                  <a:lnTo>
                    <a:pt x="45544" y="316325"/>
                  </a:lnTo>
                  <a:cubicBezTo>
                    <a:pt x="46941" y="320335"/>
                    <a:pt x="50820" y="322945"/>
                    <a:pt x="55050" y="322707"/>
                  </a:cubicBezTo>
                  <a:cubicBezTo>
                    <a:pt x="57825" y="322564"/>
                    <a:pt x="60439" y="321373"/>
                    <a:pt x="62369" y="319373"/>
                  </a:cubicBezTo>
                  <a:cubicBezTo>
                    <a:pt x="72682" y="315430"/>
                    <a:pt x="81789" y="308867"/>
                    <a:pt x="88794" y="300323"/>
                  </a:cubicBezTo>
                  <a:cubicBezTo>
                    <a:pt x="94982" y="293875"/>
                    <a:pt x="101522" y="287769"/>
                    <a:pt x="108375" y="282035"/>
                  </a:cubicBezTo>
                  <a:cubicBezTo>
                    <a:pt x="141170" y="267843"/>
                    <a:pt x="239552" y="225742"/>
                    <a:pt x="243924" y="219742"/>
                  </a:cubicBezTo>
                  <a:cubicBezTo>
                    <a:pt x="250768" y="210693"/>
                    <a:pt x="257707" y="54102"/>
                    <a:pt x="250673" y="2552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15"/>
            <p:cNvSpPr/>
            <p:nvPr/>
          </p:nvSpPr>
          <p:spPr>
            <a:xfrm>
              <a:off x="5965891" y="3514431"/>
              <a:ext cx="72720" cy="103595"/>
            </a:xfrm>
            <a:custGeom>
              <a:avLst/>
              <a:gdLst/>
              <a:ahLst/>
              <a:cxnLst/>
              <a:rect l="l" t="t" r="r" b="b"/>
              <a:pathLst>
                <a:path w="72720" h="103595" extrusionOk="0">
                  <a:moveTo>
                    <a:pt x="70816" y="95541"/>
                  </a:moveTo>
                  <a:cubicBezTo>
                    <a:pt x="70816" y="95541"/>
                    <a:pt x="32129" y="112876"/>
                    <a:pt x="0" y="96684"/>
                  </a:cubicBezTo>
                  <a:lnTo>
                    <a:pt x="4658" y="36009"/>
                  </a:lnTo>
                  <a:cubicBezTo>
                    <a:pt x="4658" y="36009"/>
                    <a:pt x="5133" y="3434"/>
                    <a:pt x="34125" y="195"/>
                  </a:cubicBezTo>
                  <a:cubicBezTo>
                    <a:pt x="63117" y="-3043"/>
                    <a:pt x="78325" y="34200"/>
                    <a:pt x="70816" y="9554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0" name="Google Shape;500;p15"/>
            <p:cNvGrpSpPr/>
            <p:nvPr/>
          </p:nvGrpSpPr>
          <p:grpSpPr>
            <a:xfrm flipH="1">
              <a:off x="2865273" y="3434801"/>
              <a:ext cx="598186" cy="1340314"/>
              <a:chOff x="4210728" y="4525714"/>
              <a:chExt cx="546438" cy="1224366"/>
            </a:xfrm>
          </p:grpSpPr>
          <p:sp>
            <p:nvSpPr>
              <p:cNvPr id="501" name="Google Shape;501;p15"/>
              <p:cNvSpPr/>
              <p:nvPr/>
            </p:nvSpPr>
            <p:spPr>
              <a:xfrm>
                <a:off x="4672107" y="4726590"/>
                <a:ext cx="85002" cy="305847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502;p15"/>
              <p:cNvSpPr/>
              <p:nvPr/>
            </p:nvSpPr>
            <p:spPr>
              <a:xfrm>
                <a:off x="4408366" y="5679962"/>
                <a:ext cx="123900" cy="70118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503;p15"/>
              <p:cNvSpPr/>
              <p:nvPr/>
            </p:nvSpPr>
            <p:spPr>
              <a:xfrm>
                <a:off x="4408245" y="5691663"/>
                <a:ext cx="121939" cy="58416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15"/>
              <p:cNvSpPr/>
              <p:nvPr/>
            </p:nvSpPr>
            <p:spPr>
              <a:xfrm>
                <a:off x="4566152" y="5600798"/>
                <a:ext cx="119416" cy="67472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505;p15"/>
              <p:cNvSpPr/>
              <p:nvPr/>
            </p:nvSpPr>
            <p:spPr>
              <a:xfrm>
                <a:off x="4566197" y="5611939"/>
                <a:ext cx="117340" cy="56332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5"/>
              <p:cNvSpPr/>
              <p:nvPr/>
            </p:nvSpPr>
            <p:spPr>
              <a:xfrm>
                <a:off x="4483409" y="4968525"/>
                <a:ext cx="238054" cy="732926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15"/>
              <p:cNvSpPr/>
              <p:nvPr/>
            </p:nvSpPr>
            <p:spPr>
              <a:xfrm>
                <a:off x="4484426" y="4968525"/>
                <a:ext cx="236925" cy="409866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15"/>
              <p:cNvSpPr/>
              <p:nvPr/>
            </p:nvSpPr>
            <p:spPr>
              <a:xfrm>
                <a:off x="4531702" y="4525767"/>
                <a:ext cx="160521" cy="258577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15"/>
              <p:cNvSpPr/>
              <p:nvPr/>
            </p:nvSpPr>
            <p:spPr>
              <a:xfrm>
                <a:off x="4695825" y="4756088"/>
                <a:ext cx="61341" cy="108805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15"/>
              <p:cNvSpPr/>
              <p:nvPr/>
            </p:nvSpPr>
            <p:spPr>
              <a:xfrm>
                <a:off x="4523612" y="4724507"/>
                <a:ext cx="191546" cy="273865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15"/>
              <p:cNvSpPr/>
              <p:nvPr/>
            </p:nvSpPr>
            <p:spPr>
              <a:xfrm>
                <a:off x="4210728" y="4780936"/>
                <a:ext cx="368747" cy="265455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15"/>
              <p:cNvSpPr/>
              <p:nvPr/>
            </p:nvSpPr>
            <p:spPr>
              <a:xfrm>
                <a:off x="4484370" y="4765472"/>
                <a:ext cx="100785" cy="104755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15"/>
              <p:cNvSpPr/>
              <p:nvPr/>
            </p:nvSpPr>
            <p:spPr>
              <a:xfrm>
                <a:off x="4524935" y="4525714"/>
                <a:ext cx="201012" cy="328692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64153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B9C19F1-B034-4E43-94B4-66FE00469A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B9C19F1-B034-4E43-94B4-66FE00469A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060EC71-61F0-420D-AEDB-9CC8605196B0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E1012C7C-F3D4-4DB0-9402-901E3437EF47}"/>
              </a:ext>
            </a:extLst>
          </p:cNvPr>
          <p:cNvSpPr/>
          <p:nvPr/>
        </p:nvSpPr>
        <p:spPr>
          <a:xfrm>
            <a:off x="0" y="4668060"/>
            <a:ext cx="296449" cy="475440"/>
          </a:xfrm>
          <a:prstGeom prst="triangle">
            <a:avLst>
              <a:gd name="adj" fmla="val 100000"/>
            </a:avLst>
          </a:prstGeom>
          <a:gradFill>
            <a:gsLst>
              <a:gs pos="0">
                <a:srgbClr val="12161C">
                  <a:alpha val="10000"/>
                </a:srgbClr>
              </a:gs>
              <a:gs pos="100000">
                <a:srgbClr val="12161C">
                  <a:alpha val="2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661D95-6C79-46AA-89A1-65546169E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Apps Structure</a:t>
            </a:r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DB741DC-531F-4C39-A868-AE9D3BA0C30A}"/>
              </a:ext>
            </a:extLst>
          </p:cNvPr>
          <p:cNvSpPr/>
          <p:nvPr/>
        </p:nvSpPr>
        <p:spPr>
          <a:xfrm>
            <a:off x="3305698" y="1453064"/>
            <a:ext cx="651221" cy="651221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9125BEA-0292-4BA5-B9DB-37560B7E41DD}"/>
              </a:ext>
            </a:extLst>
          </p:cNvPr>
          <p:cNvSpPr/>
          <p:nvPr/>
        </p:nvSpPr>
        <p:spPr>
          <a:xfrm>
            <a:off x="3305698" y="3813779"/>
            <a:ext cx="651221" cy="651221"/>
          </a:xfrm>
          <a:prstGeom prst="ellipse">
            <a:avLst/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AB9D5D6-9ECF-4FEF-850A-B50906FEC883}"/>
              </a:ext>
            </a:extLst>
          </p:cNvPr>
          <p:cNvSpPr/>
          <p:nvPr/>
        </p:nvSpPr>
        <p:spPr>
          <a:xfrm>
            <a:off x="5203394" y="1453064"/>
            <a:ext cx="651221" cy="65122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1D95967-B25F-4672-B603-9437140BA351}"/>
              </a:ext>
            </a:extLst>
          </p:cNvPr>
          <p:cNvSpPr/>
          <p:nvPr/>
        </p:nvSpPr>
        <p:spPr>
          <a:xfrm>
            <a:off x="5203394" y="3813779"/>
            <a:ext cx="651221" cy="651221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D35E681-7EFD-4A60-B47D-B9EF6A06C595}"/>
              </a:ext>
            </a:extLst>
          </p:cNvPr>
          <p:cNvSpPr/>
          <p:nvPr/>
        </p:nvSpPr>
        <p:spPr>
          <a:xfrm>
            <a:off x="3675547" y="2091532"/>
            <a:ext cx="1834299" cy="1785689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462CF70-B739-4312-B281-CB88C9121033}"/>
              </a:ext>
            </a:extLst>
          </p:cNvPr>
          <p:cNvSpPr/>
          <p:nvPr/>
        </p:nvSpPr>
        <p:spPr>
          <a:xfrm>
            <a:off x="290513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Flask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216C9A82-0A18-4BF6-85DF-47F91B646B4F}"/>
              </a:ext>
            </a:extLst>
          </p:cNvPr>
          <p:cNvSpPr/>
          <p:nvPr/>
        </p:nvSpPr>
        <p:spPr>
          <a:xfrm>
            <a:off x="290513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Html &amp; Heroku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8A0128F-9DC6-418D-8258-EE6F7F4BA895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5206365" y="3787100"/>
            <a:ext cx="92398" cy="12204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EB879C5-FF05-4C24-891F-616035C2D379}"/>
              </a:ext>
            </a:extLst>
          </p:cNvPr>
          <p:cNvCxnSpPr>
            <a:cxnSpLocks/>
          </p:cNvCxnSpPr>
          <p:nvPr/>
        </p:nvCxnSpPr>
        <p:spPr>
          <a:xfrm>
            <a:off x="3861549" y="2015337"/>
            <a:ext cx="96651" cy="1277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A3D73FE-2372-4218-8D7F-82BC5486BBE2}"/>
              </a:ext>
            </a:extLst>
          </p:cNvPr>
          <p:cNvCxnSpPr>
            <a:cxnSpLocks/>
          </p:cNvCxnSpPr>
          <p:nvPr/>
        </p:nvCxnSpPr>
        <p:spPr>
          <a:xfrm flipH="1">
            <a:off x="5183505" y="2015337"/>
            <a:ext cx="115259" cy="15239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5340AB1-8C85-4896-A24C-84F9E8EFCF21}"/>
              </a:ext>
            </a:extLst>
          </p:cNvPr>
          <p:cNvCxnSpPr>
            <a:cxnSpLocks/>
          </p:cNvCxnSpPr>
          <p:nvPr/>
        </p:nvCxnSpPr>
        <p:spPr>
          <a:xfrm flipV="1">
            <a:off x="3843125" y="3800475"/>
            <a:ext cx="82272" cy="10867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>
            <a:extLst>
              <a:ext uri="{FF2B5EF4-FFF2-40B4-BE49-F238E27FC236}">
                <a16:creationId xmlns:a16="http://schemas.microsoft.com/office/drawing/2014/main" id="{48F05714-7D4F-4A1E-8C85-A3220F707299}"/>
              </a:ext>
            </a:extLst>
          </p:cNvPr>
          <p:cNvSpPr/>
          <p:nvPr/>
        </p:nvSpPr>
        <p:spPr>
          <a:xfrm>
            <a:off x="3531415" y="1953704"/>
            <a:ext cx="2069523" cy="2069523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81AEB887-62CE-4CA7-A01E-B78780626F1E}"/>
              </a:ext>
            </a:extLst>
          </p:cNvPr>
          <p:cNvSpPr/>
          <p:nvPr/>
        </p:nvSpPr>
        <p:spPr>
          <a:xfrm>
            <a:off x="6319374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SQL Alchemy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CC475FD2-25E8-463D-B240-279C650C19D2}"/>
              </a:ext>
            </a:extLst>
          </p:cNvPr>
          <p:cNvSpPr/>
          <p:nvPr/>
        </p:nvSpPr>
        <p:spPr>
          <a:xfrm>
            <a:off x="6319374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Java Script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6CBB5CA-C48B-4D91-9361-5168F7DBE9E1}"/>
              </a:ext>
            </a:extLst>
          </p:cNvPr>
          <p:cNvSpPr/>
          <p:nvPr/>
        </p:nvSpPr>
        <p:spPr>
          <a:xfrm>
            <a:off x="290513" y="1639562"/>
            <a:ext cx="2550425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to render html and API route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D9B4D18-330F-4456-BB9E-6BBDCC70529F}"/>
              </a:ext>
            </a:extLst>
          </p:cNvPr>
          <p:cNvSpPr/>
          <p:nvPr/>
        </p:nvSpPr>
        <p:spPr>
          <a:xfrm>
            <a:off x="290513" y="3522854"/>
            <a:ext cx="2550425" cy="92333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Bootstrap template for the dashboard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Reference all JS files and necessary dependencies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Heroku to host our dashboard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E93BD6E-B8C5-45D2-90CD-FDF26AE1DB0A}"/>
              </a:ext>
            </a:extLst>
          </p:cNvPr>
          <p:cNvSpPr/>
          <p:nvPr/>
        </p:nvSpPr>
        <p:spPr>
          <a:xfrm>
            <a:off x="6319375" y="3522854"/>
            <a:ext cx="2550425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JS libraries used to create charts: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Plotly</a:t>
            </a: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D3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Leaflet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WordCloud</a:t>
            </a: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 (not covered in class)</a:t>
            </a:r>
          </a:p>
          <a:p>
            <a:pPr marL="171450" lvl="4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</p:txBody>
      </p:sp>
      <p:pic>
        <p:nvPicPr>
          <p:cNvPr id="1028" name="Picture 4" descr="Image result for sqlalchemy logo">
            <a:extLst>
              <a:ext uri="{FF2B5EF4-FFF2-40B4-BE49-F238E27FC236}">
                <a16:creationId xmlns:a16="http://schemas.microsoft.com/office/drawing/2014/main" id="{69F94B94-3445-4388-8D4E-8022D405E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8763" y="1725358"/>
            <a:ext cx="519847" cy="109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javascript logo">
            <a:extLst>
              <a:ext uri="{FF2B5EF4-FFF2-40B4-BE49-F238E27FC236}">
                <a16:creationId xmlns:a16="http://schemas.microsoft.com/office/drawing/2014/main" id="{7F0BF4BA-AD01-43A3-9A61-38A067097A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2814" y="3933737"/>
            <a:ext cx="385635" cy="385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html logo">
            <a:extLst>
              <a:ext uri="{FF2B5EF4-FFF2-40B4-BE49-F238E27FC236}">
                <a16:creationId xmlns:a16="http://schemas.microsoft.com/office/drawing/2014/main" id="{A5C22BCE-80E0-44C1-A866-6B35AFD0BC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2833" y="3960914"/>
            <a:ext cx="356949" cy="356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DC14E510-D8AB-46A2-82CC-B829397A10B9}"/>
              </a:ext>
            </a:extLst>
          </p:cNvPr>
          <p:cNvSpPr/>
          <p:nvPr/>
        </p:nvSpPr>
        <p:spPr>
          <a:xfrm>
            <a:off x="6311218" y="1639562"/>
            <a:ext cx="2550425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Query data from database and present them as APIs</a:t>
            </a:r>
          </a:p>
        </p:txBody>
      </p:sp>
      <p:sp>
        <p:nvSpPr>
          <p:cNvPr id="3" name="AutoShape 5">
            <a:extLst>
              <a:ext uri="{FF2B5EF4-FFF2-40B4-BE49-F238E27FC236}">
                <a16:creationId xmlns:a16="http://schemas.microsoft.com/office/drawing/2014/main" id="{1DA84BB3-95D5-4093-A5FF-81D8DF1583F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pic>
        <p:nvPicPr>
          <p:cNvPr id="2055" name="Picture 7" descr="Image result for jobs search icon">
            <a:extLst>
              <a:ext uri="{FF2B5EF4-FFF2-40B4-BE49-F238E27FC236}">
                <a16:creationId xmlns:a16="http://schemas.microsoft.com/office/drawing/2014/main" id="{6DEE929C-235C-4F8E-ABE7-3D17F27A3F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6820" y="2343316"/>
            <a:ext cx="1305658" cy="1305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3" name="Picture 15" descr="Image result for flasksqlalchemy icon">
            <a:extLst>
              <a:ext uri="{FF2B5EF4-FFF2-40B4-BE49-F238E27FC236}">
                <a16:creationId xmlns:a16="http://schemas.microsoft.com/office/drawing/2014/main" id="{54F45CCA-04FD-4D2C-BD6E-12E87F96B6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0768" y="1591727"/>
            <a:ext cx="402573" cy="40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5A95DD-9AB3-42B8-AA9B-5A5DE86DD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743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0" name="Google Shape;1700;p28"/>
          <p:cNvSpPr txBox="1">
            <a:spLocks noGrp="1"/>
          </p:cNvSpPr>
          <p:nvPr>
            <p:ph type="title"/>
          </p:nvPr>
        </p:nvSpPr>
        <p:spPr>
          <a:xfrm>
            <a:off x="457199" y="605600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1701" name="Google Shape;1701;p2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3</a:t>
            </a:fld>
            <a:endParaRPr/>
          </a:p>
        </p:txBody>
      </p:sp>
      <p:pic>
        <p:nvPicPr>
          <p:cNvPr id="3074" name="Picture 2" descr="Image result for flask sqlalchemy">
            <a:extLst>
              <a:ext uri="{FF2B5EF4-FFF2-40B4-BE49-F238E27FC236}">
                <a16:creationId xmlns:a16="http://schemas.microsoft.com/office/drawing/2014/main" id="{5C7F1E9D-D82B-49E0-A87D-C2A3B58BE4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750" y="1245850"/>
            <a:ext cx="8467725" cy="339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6ED3DD8-082F-42E7-80A2-8951D7EBA4D7}"/>
              </a:ext>
            </a:extLst>
          </p:cNvPr>
          <p:cNvSpPr txBox="1"/>
          <p:nvPr/>
        </p:nvSpPr>
        <p:spPr>
          <a:xfrm>
            <a:off x="1367692" y="4845538"/>
            <a:ext cx="626793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>
                <a:solidFill>
                  <a:schemeClr val="tx1">
                    <a:lumMod val="5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sk by example 5 (How to build a simple REST API) (danidee10.github.io)</a:t>
            </a:r>
            <a:endParaRPr lang="en-CA" sz="800" i="1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0594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sults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4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408" name="Google Shape;408;p15"/>
          <p:cNvGrpSpPr/>
          <p:nvPr/>
        </p:nvGrpSpPr>
        <p:grpSpPr>
          <a:xfrm>
            <a:off x="5435079" y="912423"/>
            <a:ext cx="3239723" cy="3318665"/>
            <a:chOff x="2270525" y="117216"/>
            <a:chExt cx="4650765" cy="4762722"/>
          </a:xfrm>
        </p:grpSpPr>
        <p:sp>
          <p:nvSpPr>
            <p:cNvPr id="409" name="Google Shape;409;p15"/>
            <p:cNvSpPr/>
            <p:nvPr/>
          </p:nvSpPr>
          <p:spPr>
            <a:xfrm>
              <a:off x="2270525" y="2788917"/>
              <a:ext cx="1367464" cy="791146"/>
            </a:xfrm>
            <a:custGeom>
              <a:avLst/>
              <a:gdLst/>
              <a:ahLst/>
              <a:cxnLst/>
              <a:rect l="l" t="t" r="r" b="b"/>
              <a:pathLst>
                <a:path w="1367464" h="791146" extrusionOk="0">
                  <a:moveTo>
                    <a:pt x="1367464" y="395573"/>
                  </a:moveTo>
                  <a:cubicBezTo>
                    <a:pt x="1367464" y="614042"/>
                    <a:pt x="1061347" y="791146"/>
                    <a:pt x="683732" y="791146"/>
                  </a:cubicBezTo>
                  <a:cubicBezTo>
                    <a:pt x="306117" y="791146"/>
                    <a:pt x="0" y="614042"/>
                    <a:pt x="0" y="395573"/>
                  </a:cubicBezTo>
                  <a:cubicBezTo>
                    <a:pt x="0" y="177104"/>
                    <a:pt x="306117" y="0"/>
                    <a:pt x="683732" y="0"/>
                  </a:cubicBezTo>
                  <a:cubicBezTo>
                    <a:pt x="1061347" y="0"/>
                    <a:pt x="1367464" y="177104"/>
                    <a:pt x="1367464" y="395573"/>
                  </a:cubicBezTo>
                  <a:close/>
                </a:path>
              </a:pathLst>
            </a:custGeom>
            <a:solidFill>
              <a:srgbClr val="D6D8E5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15"/>
            <p:cNvSpPr/>
            <p:nvPr/>
          </p:nvSpPr>
          <p:spPr>
            <a:xfrm>
              <a:off x="2565006" y="2921600"/>
              <a:ext cx="762723" cy="441198"/>
            </a:xfrm>
            <a:custGeom>
              <a:avLst/>
              <a:gdLst/>
              <a:ahLst/>
              <a:cxnLst/>
              <a:rect l="l" t="t" r="r" b="b"/>
              <a:pathLst>
                <a:path w="762723" h="441198" extrusionOk="0">
                  <a:moveTo>
                    <a:pt x="762723" y="220599"/>
                  </a:moveTo>
                  <a:cubicBezTo>
                    <a:pt x="762723" y="342432"/>
                    <a:pt x="591982" y="441198"/>
                    <a:pt x="381362" y="441198"/>
                  </a:cubicBezTo>
                  <a:cubicBezTo>
                    <a:pt x="170741" y="441198"/>
                    <a:pt x="0" y="342432"/>
                    <a:pt x="0" y="220599"/>
                  </a:cubicBezTo>
                  <a:cubicBezTo>
                    <a:pt x="0" y="98765"/>
                    <a:pt x="170741" y="0"/>
                    <a:pt x="381362" y="0"/>
                  </a:cubicBezTo>
                  <a:cubicBezTo>
                    <a:pt x="591982" y="0"/>
                    <a:pt x="762723" y="98765"/>
                    <a:pt x="762723" y="220599"/>
                  </a:cubicBezTo>
                  <a:close/>
                </a:path>
              </a:pathLst>
            </a:custGeom>
            <a:solidFill>
              <a:srgbClr val="EDEFF9">
                <a:alpha val="4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15"/>
            <p:cNvSpPr/>
            <p:nvPr/>
          </p:nvSpPr>
          <p:spPr>
            <a:xfrm>
              <a:off x="2834012" y="3000943"/>
              <a:ext cx="217486" cy="125920"/>
            </a:xfrm>
            <a:custGeom>
              <a:avLst/>
              <a:gdLst/>
              <a:ahLst/>
              <a:cxnLst/>
              <a:rect l="l" t="t" r="r" b="b"/>
              <a:pathLst>
                <a:path w="217486" h="125920" extrusionOk="0">
                  <a:moveTo>
                    <a:pt x="217486" y="62960"/>
                  </a:moveTo>
                  <a:cubicBezTo>
                    <a:pt x="217486" y="97732"/>
                    <a:pt x="168800" y="125920"/>
                    <a:pt x="108743" y="125920"/>
                  </a:cubicBezTo>
                  <a:cubicBezTo>
                    <a:pt x="48686" y="125920"/>
                    <a:pt x="0" y="97732"/>
                    <a:pt x="0" y="62960"/>
                  </a:cubicBezTo>
                  <a:cubicBezTo>
                    <a:pt x="0" y="28188"/>
                    <a:pt x="48686" y="0"/>
                    <a:pt x="108743" y="0"/>
                  </a:cubicBezTo>
                  <a:cubicBezTo>
                    <a:pt x="168800" y="0"/>
                    <a:pt x="217486" y="28188"/>
                    <a:pt x="217486" y="62960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15"/>
            <p:cNvSpPr/>
            <p:nvPr/>
          </p:nvSpPr>
          <p:spPr>
            <a:xfrm>
              <a:off x="2841806" y="2229228"/>
              <a:ext cx="209121" cy="823531"/>
            </a:xfrm>
            <a:custGeom>
              <a:avLst/>
              <a:gdLst/>
              <a:ahLst/>
              <a:cxnLst/>
              <a:rect l="l" t="t" r="r" b="b"/>
              <a:pathLst>
                <a:path w="209121" h="823531" extrusionOk="0">
                  <a:moveTo>
                    <a:pt x="0" y="0"/>
                  </a:moveTo>
                  <a:lnTo>
                    <a:pt x="209121" y="0"/>
                  </a:lnTo>
                  <a:lnTo>
                    <a:pt x="209121" y="823532"/>
                  </a:lnTo>
                  <a:lnTo>
                    <a:pt x="0" y="823532"/>
                  </a:ln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15"/>
            <p:cNvSpPr/>
            <p:nvPr/>
          </p:nvSpPr>
          <p:spPr>
            <a:xfrm>
              <a:off x="2831826" y="2112223"/>
              <a:ext cx="249895" cy="580777"/>
            </a:xfrm>
            <a:custGeom>
              <a:avLst/>
              <a:gdLst/>
              <a:ahLst/>
              <a:cxnLst/>
              <a:rect l="l" t="t" r="r" b="b"/>
              <a:pathLst>
                <a:path w="249895" h="580777" extrusionOk="0">
                  <a:moveTo>
                    <a:pt x="0" y="107670"/>
                  </a:moveTo>
                  <a:cubicBezTo>
                    <a:pt x="0" y="107670"/>
                    <a:pt x="5703" y="277025"/>
                    <a:pt x="125948" y="580777"/>
                  </a:cubicBezTo>
                  <a:cubicBezTo>
                    <a:pt x="125948" y="580777"/>
                    <a:pt x="237923" y="336175"/>
                    <a:pt x="249520" y="102527"/>
                  </a:cubicBezTo>
                  <a:cubicBezTo>
                    <a:pt x="261117" y="-131122"/>
                    <a:pt x="0" y="107670"/>
                    <a:pt x="0" y="107670"/>
                  </a:cubicBez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15"/>
            <p:cNvSpPr/>
            <p:nvPr/>
          </p:nvSpPr>
          <p:spPr>
            <a:xfrm>
              <a:off x="2373659" y="1582290"/>
              <a:ext cx="397711" cy="625506"/>
            </a:xfrm>
            <a:custGeom>
              <a:avLst/>
              <a:gdLst/>
              <a:ahLst/>
              <a:cxnLst/>
              <a:rect l="l" t="t" r="r" b="b"/>
              <a:pathLst>
                <a:path w="397711" h="625506" extrusionOk="0">
                  <a:moveTo>
                    <a:pt x="311306" y="0"/>
                  </a:moveTo>
                  <a:lnTo>
                    <a:pt x="33079" y="271272"/>
                  </a:lnTo>
                  <a:lnTo>
                    <a:pt x="0" y="625507"/>
                  </a:lnTo>
                  <a:lnTo>
                    <a:pt x="336495" y="456438"/>
                  </a:lnTo>
                  <a:lnTo>
                    <a:pt x="397711" y="24384"/>
                  </a:lnTo>
                  <a:lnTo>
                    <a:pt x="3113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15"/>
            <p:cNvSpPr/>
            <p:nvPr/>
          </p:nvSpPr>
          <p:spPr>
            <a:xfrm>
              <a:off x="3144177" y="1582290"/>
              <a:ext cx="397710" cy="625506"/>
            </a:xfrm>
            <a:custGeom>
              <a:avLst/>
              <a:gdLst/>
              <a:ahLst/>
              <a:cxnLst/>
              <a:rect l="l" t="t" r="r" b="b"/>
              <a:pathLst>
                <a:path w="397710" h="625506" extrusionOk="0">
                  <a:moveTo>
                    <a:pt x="86405" y="0"/>
                  </a:moveTo>
                  <a:lnTo>
                    <a:pt x="364537" y="271272"/>
                  </a:lnTo>
                  <a:lnTo>
                    <a:pt x="397711" y="625507"/>
                  </a:lnTo>
                  <a:lnTo>
                    <a:pt x="59980" y="444722"/>
                  </a:lnTo>
                  <a:lnTo>
                    <a:pt x="0" y="24384"/>
                  </a:lnTo>
                  <a:lnTo>
                    <a:pt x="8640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" name="Google Shape;416;p15"/>
            <p:cNvSpPr/>
            <p:nvPr/>
          </p:nvSpPr>
          <p:spPr>
            <a:xfrm>
              <a:off x="2815951" y="2102641"/>
              <a:ext cx="276610" cy="160020"/>
            </a:xfrm>
            <a:custGeom>
              <a:avLst/>
              <a:gdLst/>
              <a:ahLst/>
              <a:cxnLst/>
              <a:rect l="l" t="t" r="r" b="b"/>
              <a:pathLst>
                <a:path w="276610" h="160020" extrusionOk="0">
                  <a:moveTo>
                    <a:pt x="276611" y="80010"/>
                  </a:moveTo>
                  <a:cubicBezTo>
                    <a:pt x="276611" y="124198"/>
                    <a:pt x="214689" y="160020"/>
                    <a:pt x="138305" y="160020"/>
                  </a:cubicBezTo>
                  <a:cubicBezTo>
                    <a:pt x="61921" y="160020"/>
                    <a:pt x="0" y="124198"/>
                    <a:pt x="0" y="80010"/>
                  </a:cubicBezTo>
                  <a:cubicBezTo>
                    <a:pt x="0" y="35822"/>
                    <a:pt x="61921" y="0"/>
                    <a:pt x="138305" y="0"/>
                  </a:cubicBezTo>
                  <a:cubicBezTo>
                    <a:pt x="214689" y="0"/>
                    <a:pt x="276611" y="35822"/>
                    <a:pt x="276611" y="80010"/>
                  </a:cubicBezTo>
                  <a:close/>
                </a:path>
              </a:pathLst>
            </a:custGeom>
            <a:solidFill>
              <a:srgbClr val="42495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7" name="Google Shape;417;p15"/>
            <p:cNvSpPr/>
            <p:nvPr/>
          </p:nvSpPr>
          <p:spPr>
            <a:xfrm>
              <a:off x="2744565" y="2030632"/>
              <a:ext cx="418908" cy="74675"/>
            </a:xfrm>
            <a:custGeom>
              <a:avLst/>
              <a:gdLst/>
              <a:ahLst/>
              <a:cxnLst/>
              <a:rect l="l" t="t" r="r" b="b"/>
              <a:pathLst>
                <a:path w="418908" h="74675" extrusionOk="0">
                  <a:moveTo>
                    <a:pt x="0" y="72009"/>
                  </a:moveTo>
                  <a:lnTo>
                    <a:pt x="0" y="0"/>
                  </a:lnTo>
                  <a:lnTo>
                    <a:pt x="418908" y="0"/>
                  </a:lnTo>
                  <a:lnTo>
                    <a:pt x="418908" y="74676"/>
                  </a:lnTo>
                  <a:lnTo>
                    <a:pt x="0" y="72009"/>
                  </a:lnTo>
                  <a:close/>
                </a:path>
              </a:pathLst>
            </a:custGeom>
            <a:solidFill>
              <a:srgbClr val="4949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15"/>
            <p:cNvSpPr/>
            <p:nvPr/>
          </p:nvSpPr>
          <p:spPr>
            <a:xfrm>
              <a:off x="2744565" y="1981197"/>
              <a:ext cx="419383" cy="242697"/>
            </a:xfrm>
            <a:custGeom>
              <a:avLst/>
              <a:gdLst/>
              <a:ahLst/>
              <a:cxnLst/>
              <a:rect l="l" t="t" r="r" b="b"/>
              <a:pathLst>
                <a:path w="419383" h="242697" extrusionOk="0">
                  <a:moveTo>
                    <a:pt x="419384" y="121348"/>
                  </a:moveTo>
                  <a:cubicBezTo>
                    <a:pt x="419384" y="188367"/>
                    <a:pt x="325501" y="242697"/>
                    <a:pt x="209692" y="242697"/>
                  </a:cubicBezTo>
                  <a:cubicBezTo>
                    <a:pt x="93882" y="242697"/>
                    <a:pt x="0" y="188367"/>
                    <a:pt x="0" y="121348"/>
                  </a:cubicBezTo>
                  <a:cubicBezTo>
                    <a:pt x="0" y="54330"/>
                    <a:pt x="93882" y="0"/>
                    <a:pt x="209692" y="0"/>
                  </a:cubicBezTo>
                  <a:cubicBezTo>
                    <a:pt x="325501" y="0"/>
                    <a:pt x="419384" y="54329"/>
                    <a:pt x="419384" y="12134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5"/>
            <p:cNvSpPr/>
            <p:nvPr/>
          </p:nvSpPr>
          <p:spPr>
            <a:xfrm>
              <a:off x="2697703" y="1845275"/>
              <a:ext cx="511777" cy="296036"/>
            </a:xfrm>
            <a:custGeom>
              <a:avLst/>
              <a:gdLst/>
              <a:ahLst/>
              <a:cxnLst/>
              <a:rect l="l" t="t" r="r" b="b"/>
              <a:pathLst>
                <a:path w="511777" h="296036" extrusionOk="0">
                  <a:moveTo>
                    <a:pt x="511777" y="148019"/>
                  </a:moveTo>
                  <a:cubicBezTo>
                    <a:pt x="511777" y="229767"/>
                    <a:pt x="397212" y="296037"/>
                    <a:pt x="255889" y="296037"/>
                  </a:cubicBezTo>
                  <a:cubicBezTo>
                    <a:pt x="114565" y="296037"/>
                    <a:pt x="0" y="229767"/>
                    <a:pt x="0" y="148019"/>
                  </a:cubicBezTo>
                  <a:cubicBezTo>
                    <a:pt x="0" y="66270"/>
                    <a:pt x="114565" y="0"/>
                    <a:pt x="255889" y="0"/>
                  </a:cubicBezTo>
                  <a:cubicBezTo>
                    <a:pt x="397212" y="0"/>
                    <a:pt x="511777" y="66270"/>
                    <a:pt x="511777" y="148019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" name="Google Shape;420;p15"/>
            <p:cNvSpPr/>
            <p:nvPr/>
          </p:nvSpPr>
          <p:spPr>
            <a:xfrm>
              <a:off x="2681484" y="530635"/>
              <a:ext cx="548516" cy="1538895"/>
            </a:xfrm>
            <a:custGeom>
              <a:avLst/>
              <a:gdLst/>
              <a:ahLst/>
              <a:cxnLst/>
              <a:rect l="l" t="t" r="r" b="b"/>
              <a:pathLst>
                <a:path w="548516" h="1538895" extrusionOk="0">
                  <a:moveTo>
                    <a:pt x="548433" y="1199007"/>
                  </a:moveTo>
                  <a:lnTo>
                    <a:pt x="548433" y="1199007"/>
                  </a:lnTo>
                  <a:cubicBezTo>
                    <a:pt x="548433" y="1210913"/>
                    <a:pt x="548433" y="1222629"/>
                    <a:pt x="548433" y="1233964"/>
                  </a:cubicBezTo>
                  <a:cubicBezTo>
                    <a:pt x="548433" y="1243489"/>
                    <a:pt x="548433" y="1253014"/>
                    <a:pt x="548433" y="1262539"/>
                  </a:cubicBezTo>
                  <a:cubicBezTo>
                    <a:pt x="548433" y="1275398"/>
                    <a:pt x="547767" y="1287685"/>
                    <a:pt x="547292" y="1299686"/>
                  </a:cubicBezTo>
                  <a:cubicBezTo>
                    <a:pt x="547292" y="1314641"/>
                    <a:pt x="546246" y="1328833"/>
                    <a:pt x="545486" y="1342454"/>
                  </a:cubicBezTo>
                  <a:cubicBezTo>
                    <a:pt x="544725" y="1356074"/>
                    <a:pt x="544060" y="1369409"/>
                    <a:pt x="543109" y="1381697"/>
                  </a:cubicBezTo>
                  <a:cubicBezTo>
                    <a:pt x="539212" y="1435513"/>
                    <a:pt x="539307" y="1475137"/>
                    <a:pt x="532653" y="1490662"/>
                  </a:cubicBezTo>
                  <a:cubicBezTo>
                    <a:pt x="496437" y="1575530"/>
                    <a:pt x="373911" y="1528762"/>
                    <a:pt x="313456" y="1498283"/>
                  </a:cubicBezTo>
                  <a:cubicBezTo>
                    <a:pt x="291118" y="1487043"/>
                    <a:pt x="276384" y="1477804"/>
                    <a:pt x="276384" y="1477804"/>
                  </a:cubicBezTo>
                  <a:lnTo>
                    <a:pt x="270871" y="1477804"/>
                  </a:lnTo>
                  <a:cubicBezTo>
                    <a:pt x="270871" y="1477804"/>
                    <a:pt x="253381" y="1487329"/>
                    <a:pt x="227526" y="1497616"/>
                  </a:cubicBezTo>
                  <a:cubicBezTo>
                    <a:pt x="164124" y="1523333"/>
                    <a:pt x="51104" y="1568958"/>
                    <a:pt x="19735" y="1490377"/>
                  </a:cubicBezTo>
                  <a:cubicBezTo>
                    <a:pt x="14127" y="1476280"/>
                    <a:pt x="8519" y="1429703"/>
                    <a:pt x="5097" y="1380935"/>
                  </a:cubicBezTo>
                  <a:cubicBezTo>
                    <a:pt x="4241" y="1368743"/>
                    <a:pt x="3481" y="1355693"/>
                    <a:pt x="2721" y="1341787"/>
                  </a:cubicBezTo>
                  <a:cubicBezTo>
                    <a:pt x="1960" y="1327880"/>
                    <a:pt x="1580" y="1314069"/>
                    <a:pt x="1010" y="1299115"/>
                  </a:cubicBezTo>
                  <a:cubicBezTo>
                    <a:pt x="1010" y="1287208"/>
                    <a:pt x="344" y="1274921"/>
                    <a:pt x="59" y="1262158"/>
                  </a:cubicBezTo>
                  <a:cubicBezTo>
                    <a:pt x="59" y="1252633"/>
                    <a:pt x="59" y="1243108"/>
                    <a:pt x="59" y="1233583"/>
                  </a:cubicBezTo>
                  <a:lnTo>
                    <a:pt x="59" y="1233583"/>
                  </a:lnTo>
                  <a:lnTo>
                    <a:pt x="59" y="1198626"/>
                  </a:lnTo>
                  <a:lnTo>
                    <a:pt x="59" y="1198626"/>
                  </a:lnTo>
                  <a:cubicBezTo>
                    <a:pt x="-1652" y="866299"/>
                    <a:pt x="33518" y="334899"/>
                    <a:pt x="149676" y="108109"/>
                  </a:cubicBezTo>
                  <a:cubicBezTo>
                    <a:pt x="183230" y="42481"/>
                    <a:pt x="223534" y="2381"/>
                    <a:pt x="271727" y="0"/>
                  </a:cubicBezTo>
                  <a:lnTo>
                    <a:pt x="271727" y="0"/>
                  </a:lnTo>
                  <a:lnTo>
                    <a:pt x="277240" y="0"/>
                  </a:lnTo>
                  <a:lnTo>
                    <a:pt x="277240" y="0"/>
                  </a:lnTo>
                  <a:cubicBezTo>
                    <a:pt x="324768" y="2476"/>
                    <a:pt x="365546" y="42386"/>
                    <a:pt x="399196" y="107728"/>
                  </a:cubicBezTo>
                  <a:cubicBezTo>
                    <a:pt x="513737" y="333661"/>
                    <a:pt x="550524" y="862965"/>
                    <a:pt x="548433" y="1199007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15"/>
            <p:cNvSpPr/>
            <p:nvPr/>
          </p:nvSpPr>
          <p:spPr>
            <a:xfrm>
              <a:off x="2858251" y="1222531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9"/>
                    <a:pt x="96671" y="193739"/>
                  </a:cubicBezTo>
                  <a:cubicBezTo>
                    <a:pt x="43281" y="193739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5"/>
            <p:cNvSpPr/>
            <p:nvPr/>
          </p:nvSpPr>
          <p:spPr>
            <a:xfrm>
              <a:off x="2844088" y="1208338"/>
              <a:ext cx="221668" cy="222122"/>
            </a:xfrm>
            <a:custGeom>
              <a:avLst/>
              <a:gdLst/>
              <a:ahLst/>
              <a:cxnLst/>
              <a:rect l="l" t="t" r="r" b="b"/>
              <a:pathLst>
                <a:path w="221668" h="222122" extrusionOk="0">
                  <a:moveTo>
                    <a:pt x="110834" y="222123"/>
                  </a:moveTo>
                  <a:cubicBezTo>
                    <a:pt x="49623" y="222123"/>
                    <a:pt x="0" y="172402"/>
                    <a:pt x="0" y="111061"/>
                  </a:cubicBezTo>
                  <a:cubicBezTo>
                    <a:pt x="0" y="49720"/>
                    <a:pt x="49623" y="0"/>
                    <a:pt x="110834" y="0"/>
                  </a:cubicBezTo>
                  <a:cubicBezTo>
                    <a:pt x="172046" y="0"/>
                    <a:pt x="221669" y="49720"/>
                    <a:pt x="221669" y="111061"/>
                  </a:cubicBezTo>
                  <a:cubicBezTo>
                    <a:pt x="221617" y="172374"/>
                    <a:pt x="172025" y="222066"/>
                    <a:pt x="110834" y="222123"/>
                  </a:cubicBezTo>
                  <a:close/>
                  <a:moveTo>
                    <a:pt x="110834" y="28384"/>
                  </a:moveTo>
                  <a:cubicBezTo>
                    <a:pt x="65267" y="28327"/>
                    <a:pt x="28284" y="65303"/>
                    <a:pt x="28231" y="110966"/>
                  </a:cubicBezTo>
                  <a:cubicBezTo>
                    <a:pt x="28179" y="156629"/>
                    <a:pt x="65077" y="193681"/>
                    <a:pt x="110644" y="193738"/>
                  </a:cubicBezTo>
                  <a:cubicBezTo>
                    <a:pt x="156212" y="193796"/>
                    <a:pt x="193195" y="156820"/>
                    <a:pt x="193247" y="111157"/>
                  </a:cubicBezTo>
                  <a:cubicBezTo>
                    <a:pt x="193247" y="111128"/>
                    <a:pt x="193247" y="111090"/>
                    <a:pt x="193247" y="111061"/>
                  </a:cubicBezTo>
                  <a:cubicBezTo>
                    <a:pt x="193195" y="65456"/>
                    <a:pt x="156343" y="28489"/>
                    <a:pt x="110834" y="28384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15"/>
            <p:cNvSpPr/>
            <p:nvPr/>
          </p:nvSpPr>
          <p:spPr>
            <a:xfrm>
              <a:off x="2858251" y="937733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8"/>
                    <a:pt x="96671" y="193738"/>
                  </a:cubicBezTo>
                  <a:cubicBezTo>
                    <a:pt x="43281" y="193738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Google Shape;424;p15"/>
            <p:cNvSpPr/>
            <p:nvPr/>
          </p:nvSpPr>
          <p:spPr>
            <a:xfrm>
              <a:off x="2843898" y="923636"/>
              <a:ext cx="221858" cy="222313"/>
            </a:xfrm>
            <a:custGeom>
              <a:avLst/>
              <a:gdLst/>
              <a:ahLst/>
              <a:cxnLst/>
              <a:rect l="l" t="t" r="r" b="b"/>
              <a:pathLst>
                <a:path w="221858" h="222313" extrusionOk="0">
                  <a:moveTo>
                    <a:pt x="111025" y="222314"/>
                  </a:moveTo>
                  <a:cubicBezTo>
                    <a:pt x="49760" y="222371"/>
                    <a:pt x="52" y="172641"/>
                    <a:pt x="0" y="111252"/>
                  </a:cubicBezTo>
                  <a:cubicBezTo>
                    <a:pt x="-52" y="49861"/>
                    <a:pt x="49570" y="52"/>
                    <a:pt x="110834" y="0"/>
                  </a:cubicBezTo>
                  <a:cubicBezTo>
                    <a:pt x="172062" y="-52"/>
                    <a:pt x="221754" y="49614"/>
                    <a:pt x="221859" y="110966"/>
                  </a:cubicBezTo>
                  <a:cubicBezTo>
                    <a:pt x="221911" y="172374"/>
                    <a:pt x="172305" y="222209"/>
                    <a:pt x="111025" y="222314"/>
                  </a:cubicBezTo>
                  <a:close/>
                  <a:moveTo>
                    <a:pt x="111025" y="28575"/>
                  </a:moveTo>
                  <a:cubicBezTo>
                    <a:pt x="65457" y="28523"/>
                    <a:pt x="28474" y="65496"/>
                    <a:pt x="28422" y="111157"/>
                  </a:cubicBezTo>
                  <a:cubicBezTo>
                    <a:pt x="28369" y="156820"/>
                    <a:pt x="65267" y="193872"/>
                    <a:pt x="110834" y="193929"/>
                  </a:cubicBezTo>
                  <a:cubicBezTo>
                    <a:pt x="156402" y="193986"/>
                    <a:pt x="193385" y="157010"/>
                    <a:pt x="193437" y="111347"/>
                  </a:cubicBezTo>
                  <a:cubicBezTo>
                    <a:pt x="193437" y="111283"/>
                    <a:pt x="193437" y="111221"/>
                    <a:pt x="193437" y="111157"/>
                  </a:cubicBezTo>
                  <a:cubicBezTo>
                    <a:pt x="193490" y="65496"/>
                    <a:pt x="156592" y="28437"/>
                    <a:pt x="111025" y="28385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5"/>
            <p:cNvSpPr/>
            <p:nvPr/>
          </p:nvSpPr>
          <p:spPr>
            <a:xfrm>
              <a:off x="2680593" y="1921189"/>
              <a:ext cx="549324" cy="167997"/>
            </a:xfrm>
            <a:custGeom>
              <a:avLst/>
              <a:gdLst/>
              <a:ahLst/>
              <a:cxnLst/>
              <a:rect l="l" t="t" r="r" b="b"/>
              <a:pathLst>
                <a:path w="549324" h="167997" extrusionOk="0">
                  <a:moveTo>
                    <a:pt x="549324" y="0"/>
                  </a:moveTo>
                  <a:cubicBezTo>
                    <a:pt x="549324" y="11906"/>
                    <a:pt x="549324" y="23622"/>
                    <a:pt x="549324" y="35052"/>
                  </a:cubicBezTo>
                  <a:cubicBezTo>
                    <a:pt x="539819" y="66484"/>
                    <a:pt x="513964" y="96583"/>
                    <a:pt x="471949" y="120777"/>
                  </a:cubicBezTo>
                  <a:cubicBezTo>
                    <a:pt x="363016" y="183737"/>
                    <a:pt x="186784" y="183737"/>
                    <a:pt x="77375" y="120777"/>
                  </a:cubicBezTo>
                  <a:cubicBezTo>
                    <a:pt x="35361" y="96393"/>
                    <a:pt x="9601" y="66199"/>
                    <a:pt x="0" y="35052"/>
                  </a:cubicBezTo>
                  <a:lnTo>
                    <a:pt x="0" y="35052"/>
                  </a:lnTo>
                  <a:lnTo>
                    <a:pt x="0" y="95"/>
                  </a:lnTo>
                  <a:cubicBezTo>
                    <a:pt x="9506" y="32099"/>
                    <a:pt x="35170" y="62579"/>
                    <a:pt x="77755" y="87249"/>
                  </a:cubicBezTo>
                  <a:cubicBezTo>
                    <a:pt x="186784" y="150209"/>
                    <a:pt x="363396" y="150209"/>
                    <a:pt x="472329" y="87249"/>
                  </a:cubicBezTo>
                  <a:cubicBezTo>
                    <a:pt x="514059" y="62293"/>
                    <a:pt x="540484" y="31909"/>
                    <a:pt x="5493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15"/>
            <p:cNvSpPr/>
            <p:nvPr/>
          </p:nvSpPr>
          <p:spPr>
            <a:xfrm>
              <a:off x="2680308" y="1976244"/>
              <a:ext cx="548753" cy="165782"/>
            </a:xfrm>
            <a:custGeom>
              <a:avLst/>
              <a:gdLst/>
              <a:ahLst/>
              <a:cxnLst/>
              <a:rect l="l" t="t" r="r" b="b"/>
              <a:pathLst>
                <a:path w="548753" h="165782" extrusionOk="0">
                  <a:moveTo>
                    <a:pt x="548754" y="381"/>
                  </a:moveTo>
                  <a:cubicBezTo>
                    <a:pt x="548754" y="13145"/>
                    <a:pt x="548088" y="25527"/>
                    <a:pt x="547613" y="37433"/>
                  </a:cubicBezTo>
                  <a:cubicBezTo>
                    <a:pt x="536967" y="67151"/>
                    <a:pt x="511682" y="95441"/>
                    <a:pt x="471569" y="118491"/>
                  </a:cubicBezTo>
                  <a:cubicBezTo>
                    <a:pt x="362636" y="181546"/>
                    <a:pt x="186403" y="181546"/>
                    <a:pt x="76995" y="118491"/>
                  </a:cubicBezTo>
                  <a:cubicBezTo>
                    <a:pt x="36976" y="95250"/>
                    <a:pt x="11692" y="66770"/>
                    <a:pt x="951" y="36862"/>
                  </a:cubicBezTo>
                  <a:cubicBezTo>
                    <a:pt x="951" y="24955"/>
                    <a:pt x="285" y="12668"/>
                    <a:pt x="0" y="0"/>
                  </a:cubicBezTo>
                  <a:cubicBezTo>
                    <a:pt x="9506" y="31051"/>
                    <a:pt x="35456" y="60579"/>
                    <a:pt x="76900" y="84582"/>
                  </a:cubicBezTo>
                  <a:cubicBezTo>
                    <a:pt x="185928" y="147638"/>
                    <a:pt x="362541" y="147638"/>
                    <a:pt x="471474" y="84582"/>
                  </a:cubicBezTo>
                  <a:cubicBezTo>
                    <a:pt x="513108" y="60674"/>
                    <a:pt x="538773" y="31242"/>
                    <a:pt x="548754" y="3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15"/>
            <p:cNvSpPr/>
            <p:nvPr/>
          </p:nvSpPr>
          <p:spPr>
            <a:xfrm>
              <a:off x="2683349" y="1877470"/>
              <a:ext cx="542765" cy="158087"/>
            </a:xfrm>
            <a:custGeom>
              <a:avLst/>
              <a:gdLst/>
              <a:ahLst/>
              <a:cxnLst/>
              <a:rect l="l" t="t" r="r" b="b"/>
              <a:pathLst>
                <a:path w="542765" h="158087" extrusionOk="0">
                  <a:moveTo>
                    <a:pt x="542765" y="762"/>
                  </a:moveTo>
                  <a:cubicBezTo>
                    <a:pt x="531264" y="28670"/>
                    <a:pt x="506549" y="55245"/>
                    <a:pt x="468812" y="76962"/>
                  </a:cubicBezTo>
                  <a:cubicBezTo>
                    <a:pt x="359879" y="139922"/>
                    <a:pt x="183647" y="139922"/>
                    <a:pt x="74238" y="76962"/>
                  </a:cubicBezTo>
                  <a:cubicBezTo>
                    <a:pt x="36216" y="54864"/>
                    <a:pt x="11502" y="28194"/>
                    <a:pt x="0" y="0"/>
                  </a:cubicBezTo>
                  <a:cubicBezTo>
                    <a:pt x="760" y="13906"/>
                    <a:pt x="1521" y="26956"/>
                    <a:pt x="2376" y="39148"/>
                  </a:cubicBezTo>
                  <a:cubicBezTo>
                    <a:pt x="14639" y="65437"/>
                    <a:pt x="38592" y="90202"/>
                    <a:pt x="74238" y="110871"/>
                  </a:cubicBezTo>
                  <a:cubicBezTo>
                    <a:pt x="120732" y="136255"/>
                    <a:pt x="172028" y="151571"/>
                    <a:pt x="224806" y="155829"/>
                  </a:cubicBezTo>
                  <a:cubicBezTo>
                    <a:pt x="253246" y="158601"/>
                    <a:pt x="281876" y="158820"/>
                    <a:pt x="310355" y="156496"/>
                  </a:cubicBezTo>
                  <a:cubicBezTo>
                    <a:pt x="365732" y="152991"/>
                    <a:pt x="419677" y="137417"/>
                    <a:pt x="468432" y="110871"/>
                  </a:cubicBezTo>
                  <a:cubicBezTo>
                    <a:pt x="503793" y="90392"/>
                    <a:pt x="527652" y="65913"/>
                    <a:pt x="540009" y="399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5"/>
            <p:cNvSpPr/>
            <p:nvPr/>
          </p:nvSpPr>
          <p:spPr>
            <a:xfrm>
              <a:off x="2829449" y="530444"/>
              <a:ext cx="249519" cy="126863"/>
            </a:xfrm>
            <a:custGeom>
              <a:avLst/>
              <a:gdLst/>
              <a:ahLst/>
              <a:cxnLst/>
              <a:rect l="l" t="t" r="r" b="b"/>
              <a:pathLst>
                <a:path w="249519" h="126863" extrusionOk="0">
                  <a:moveTo>
                    <a:pt x="249520" y="108109"/>
                  </a:moveTo>
                  <a:cubicBezTo>
                    <a:pt x="168218" y="133115"/>
                    <a:pt x="81302" y="133115"/>
                    <a:pt x="0" y="108109"/>
                  </a:cubicBezTo>
                  <a:cubicBezTo>
                    <a:pt x="33555" y="42481"/>
                    <a:pt x="73858" y="2381"/>
                    <a:pt x="122051" y="0"/>
                  </a:cubicBezTo>
                  <a:lnTo>
                    <a:pt x="122051" y="0"/>
                  </a:lnTo>
                  <a:lnTo>
                    <a:pt x="127564" y="0"/>
                  </a:lnTo>
                  <a:lnTo>
                    <a:pt x="127564" y="0"/>
                  </a:lnTo>
                  <a:cubicBezTo>
                    <a:pt x="175567" y="2857"/>
                    <a:pt x="215870" y="42767"/>
                    <a:pt x="249520" y="108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15"/>
            <p:cNvSpPr/>
            <p:nvPr/>
          </p:nvSpPr>
          <p:spPr>
            <a:xfrm>
              <a:off x="2934010" y="1583052"/>
              <a:ext cx="47432" cy="623982"/>
            </a:xfrm>
            <a:custGeom>
              <a:avLst/>
              <a:gdLst/>
              <a:ahLst/>
              <a:cxnLst/>
              <a:rect l="l" t="t" r="r" b="b"/>
              <a:pathLst>
                <a:path w="47432" h="623982" extrusionOk="0">
                  <a:moveTo>
                    <a:pt x="0" y="0"/>
                  </a:moveTo>
                  <a:lnTo>
                    <a:pt x="47433" y="0"/>
                  </a:lnTo>
                  <a:lnTo>
                    <a:pt x="47433" y="623983"/>
                  </a:lnTo>
                  <a:lnTo>
                    <a:pt x="0" y="6239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30" name="Google Shape;430;p15"/>
            <p:cNvGrpSpPr/>
            <p:nvPr/>
          </p:nvGrpSpPr>
          <p:grpSpPr>
            <a:xfrm>
              <a:off x="4031993" y="117216"/>
              <a:ext cx="2889297" cy="3901793"/>
              <a:chOff x="5533368" y="1047716"/>
              <a:chExt cx="2889297" cy="3901793"/>
            </a:xfrm>
          </p:grpSpPr>
          <p:sp>
            <p:nvSpPr>
              <p:cNvPr id="431" name="Google Shape;431;p15"/>
              <p:cNvSpPr/>
              <p:nvPr/>
            </p:nvSpPr>
            <p:spPr>
              <a:xfrm>
                <a:off x="6153722" y="4072604"/>
                <a:ext cx="1090544" cy="630910"/>
              </a:xfrm>
              <a:custGeom>
                <a:avLst/>
                <a:gdLst/>
                <a:ahLst/>
                <a:cxnLst/>
                <a:rect l="l" t="t" r="r" b="b"/>
                <a:pathLst>
                  <a:path w="1090544" h="630910" extrusionOk="0">
                    <a:moveTo>
                      <a:pt x="578197" y="615410"/>
                    </a:moveTo>
                    <a:lnTo>
                      <a:pt x="26877" y="296418"/>
                    </a:lnTo>
                    <a:cubicBezTo>
                      <a:pt x="-12951" y="273367"/>
                      <a:pt x="-7913" y="233172"/>
                      <a:pt x="37998" y="206597"/>
                    </a:cubicBezTo>
                    <a:lnTo>
                      <a:pt x="395216" y="0"/>
                    </a:lnTo>
                    <a:lnTo>
                      <a:pt x="1090545" y="402241"/>
                    </a:lnTo>
                    <a:lnTo>
                      <a:pt x="733327" y="608933"/>
                    </a:lnTo>
                    <a:cubicBezTo>
                      <a:pt x="687320" y="635508"/>
                      <a:pt x="617930" y="638365"/>
                      <a:pt x="578197" y="61541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15"/>
              <p:cNvSpPr/>
              <p:nvPr/>
            </p:nvSpPr>
            <p:spPr>
              <a:xfrm>
                <a:off x="6193969" y="4048886"/>
                <a:ext cx="1090601" cy="630901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01" extrusionOk="0">
                    <a:moveTo>
                      <a:pt x="578158" y="615410"/>
                    </a:moveTo>
                    <a:lnTo>
                      <a:pt x="26838" y="296323"/>
                    </a:lnTo>
                    <a:cubicBezTo>
                      <a:pt x="-12895" y="273368"/>
                      <a:pt x="-7952" y="233172"/>
                      <a:pt x="37960" y="206597"/>
                    </a:cubicBezTo>
                    <a:lnTo>
                      <a:pt x="395272" y="0"/>
                    </a:lnTo>
                    <a:lnTo>
                      <a:pt x="1090601" y="402241"/>
                    </a:lnTo>
                    <a:lnTo>
                      <a:pt x="733764" y="608838"/>
                    </a:lnTo>
                    <a:cubicBezTo>
                      <a:pt x="687377" y="635508"/>
                      <a:pt x="617891" y="638366"/>
                      <a:pt x="578158" y="61541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15"/>
              <p:cNvSpPr/>
              <p:nvPr/>
            </p:nvSpPr>
            <p:spPr>
              <a:xfrm>
                <a:off x="7252346" y="4430077"/>
                <a:ext cx="32128" cy="21050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21050" extrusionOk="0">
                    <a:moveTo>
                      <a:pt x="32129" y="21050"/>
                    </a:moveTo>
                    <a:lnTo>
                      <a:pt x="32129" y="0"/>
                    </a:lnTo>
                    <a:lnTo>
                      <a:pt x="0" y="18574"/>
                    </a:lnTo>
                    <a:lnTo>
                      <a:pt x="32129" y="2105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15"/>
              <p:cNvSpPr/>
              <p:nvPr/>
            </p:nvSpPr>
            <p:spPr>
              <a:xfrm>
                <a:off x="6193906" y="4285773"/>
                <a:ext cx="32984" cy="21431"/>
              </a:xfrm>
              <a:custGeom>
                <a:avLst/>
                <a:gdLst/>
                <a:ahLst/>
                <a:cxnLst/>
                <a:rect l="l" t="t" r="r" b="b"/>
                <a:pathLst>
                  <a:path w="32984" h="21431" extrusionOk="0">
                    <a:moveTo>
                      <a:pt x="0" y="21431"/>
                    </a:moveTo>
                    <a:lnTo>
                      <a:pt x="0" y="0"/>
                    </a:lnTo>
                    <a:lnTo>
                      <a:pt x="32984" y="13716"/>
                    </a:lnTo>
                    <a:lnTo>
                      <a:pt x="0" y="214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15"/>
              <p:cNvSpPr/>
              <p:nvPr/>
            </p:nvSpPr>
            <p:spPr>
              <a:xfrm>
                <a:off x="6193969" y="4027741"/>
                <a:ext cx="1090601" cy="630949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49" extrusionOk="0">
                    <a:moveTo>
                      <a:pt x="578158" y="615410"/>
                    </a:moveTo>
                    <a:lnTo>
                      <a:pt x="26838" y="296418"/>
                    </a:lnTo>
                    <a:cubicBezTo>
                      <a:pt x="-12895" y="273368"/>
                      <a:pt x="-7952" y="233267"/>
                      <a:pt x="37960" y="206693"/>
                    </a:cubicBezTo>
                    <a:lnTo>
                      <a:pt x="395272" y="0"/>
                    </a:lnTo>
                    <a:lnTo>
                      <a:pt x="1090601" y="402336"/>
                    </a:lnTo>
                    <a:lnTo>
                      <a:pt x="733764" y="608934"/>
                    </a:lnTo>
                    <a:cubicBezTo>
                      <a:pt x="687377" y="635508"/>
                      <a:pt x="617891" y="638461"/>
                      <a:pt x="578158" y="615410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15"/>
              <p:cNvSpPr/>
              <p:nvPr/>
            </p:nvSpPr>
            <p:spPr>
              <a:xfrm>
                <a:off x="6504927" y="3742563"/>
                <a:ext cx="779547" cy="687514"/>
              </a:xfrm>
              <a:custGeom>
                <a:avLst/>
                <a:gdLst/>
                <a:ahLst/>
                <a:cxnLst/>
                <a:rect l="l" t="t" r="r" b="b"/>
                <a:pathLst>
                  <a:path w="779547" h="687514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0"/>
                    </a:lnTo>
                    <a:lnTo>
                      <a:pt x="779548" y="687514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15"/>
              <p:cNvSpPr/>
              <p:nvPr/>
            </p:nvSpPr>
            <p:spPr>
              <a:xfrm>
                <a:off x="7254152" y="4405788"/>
                <a:ext cx="30322" cy="36004"/>
              </a:xfrm>
              <a:custGeom>
                <a:avLst/>
                <a:gdLst/>
                <a:ahLst/>
                <a:cxnLst/>
                <a:rect l="l" t="t" r="r" b="b"/>
                <a:pathLst>
                  <a:path w="30322" h="36004" extrusionOk="0">
                    <a:moveTo>
                      <a:pt x="9981" y="36004"/>
                    </a:moveTo>
                    <a:lnTo>
                      <a:pt x="30323" y="242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15"/>
              <p:cNvSpPr/>
              <p:nvPr/>
            </p:nvSpPr>
            <p:spPr>
              <a:xfrm>
                <a:off x="6482779" y="3753326"/>
                <a:ext cx="781258" cy="688466"/>
              </a:xfrm>
              <a:custGeom>
                <a:avLst/>
                <a:gdLst/>
                <a:ahLst/>
                <a:cxnLst/>
                <a:rect l="l" t="t" r="r" b="b"/>
                <a:pathLst>
                  <a:path w="781258" h="688466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1"/>
                    </a:lnTo>
                    <a:lnTo>
                      <a:pt x="781259" y="688467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15"/>
              <p:cNvSpPr/>
              <p:nvPr/>
            </p:nvSpPr>
            <p:spPr>
              <a:xfrm>
                <a:off x="5563120" y="1047716"/>
                <a:ext cx="2859545" cy="3884751"/>
              </a:xfrm>
              <a:custGeom>
                <a:avLst/>
                <a:gdLst/>
                <a:ahLst/>
                <a:cxnLst/>
                <a:rect l="l" t="t" r="r" b="b"/>
                <a:pathLst>
                  <a:path w="2859545" h="3884751" extrusionOk="0">
                    <a:moveTo>
                      <a:pt x="2790441" y="3876709"/>
                    </a:moveTo>
                    <a:lnTo>
                      <a:pt x="69105" y="2302131"/>
                    </a:lnTo>
                    <a:cubicBezTo>
                      <a:pt x="31083" y="2280033"/>
                      <a:pt x="0" y="2220787"/>
                      <a:pt x="0" y="2169829"/>
                    </a:cubicBezTo>
                    <a:lnTo>
                      <a:pt x="0" y="60708"/>
                    </a:lnTo>
                    <a:cubicBezTo>
                      <a:pt x="0" y="9654"/>
                      <a:pt x="30988" y="-13778"/>
                      <a:pt x="69105" y="8320"/>
                    </a:cubicBezTo>
                    <a:lnTo>
                      <a:pt x="2790441" y="1582517"/>
                    </a:lnTo>
                    <a:cubicBezTo>
                      <a:pt x="2828463" y="1604615"/>
                      <a:pt x="2859546" y="1663861"/>
                      <a:pt x="2859546" y="1714819"/>
                    </a:cubicBezTo>
                    <a:lnTo>
                      <a:pt x="2859546" y="3823940"/>
                    </a:lnTo>
                    <a:cubicBezTo>
                      <a:pt x="2859261" y="3874899"/>
                      <a:pt x="2828463" y="3898330"/>
                      <a:pt x="2790441" y="3876709"/>
                    </a:cubicBez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15"/>
              <p:cNvSpPr/>
              <p:nvPr/>
            </p:nvSpPr>
            <p:spPr>
              <a:xfrm>
                <a:off x="8367249" y="4838795"/>
                <a:ext cx="30132" cy="106965"/>
              </a:xfrm>
              <a:custGeom>
                <a:avLst/>
                <a:gdLst/>
                <a:ahLst/>
                <a:cxnLst/>
                <a:rect l="l" t="t" r="r" b="b"/>
                <a:pathLst>
                  <a:path w="30132" h="106965" extrusionOk="0">
                    <a:moveTo>
                      <a:pt x="0" y="106966"/>
                    </a:moveTo>
                    <a:lnTo>
                      <a:pt x="30132" y="89535"/>
                    </a:lnTo>
                    <a:lnTo>
                      <a:pt x="17110" y="0"/>
                    </a:lnTo>
                    <a:lnTo>
                      <a:pt x="0" y="106966"/>
                    </a:ln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15"/>
              <p:cNvSpPr/>
              <p:nvPr/>
            </p:nvSpPr>
            <p:spPr>
              <a:xfrm>
                <a:off x="5558272" y="1051845"/>
                <a:ext cx="72337" cy="31155"/>
              </a:xfrm>
              <a:custGeom>
                <a:avLst/>
                <a:gdLst/>
                <a:ahLst/>
                <a:cxnLst/>
                <a:rect l="l" t="t" r="r" b="b"/>
                <a:pathLst>
                  <a:path w="72337" h="31155" extrusionOk="0">
                    <a:moveTo>
                      <a:pt x="0" y="17240"/>
                    </a:moveTo>
                    <a:lnTo>
                      <a:pt x="29657" y="0"/>
                    </a:lnTo>
                    <a:lnTo>
                      <a:pt x="72337" y="24479"/>
                    </a:lnTo>
                    <a:cubicBezTo>
                      <a:pt x="72337" y="24479"/>
                      <a:pt x="26901" y="31433"/>
                      <a:pt x="25760" y="31147"/>
                    </a:cubicBezTo>
                    <a:cubicBezTo>
                      <a:pt x="24619" y="30861"/>
                      <a:pt x="0" y="17240"/>
                      <a:pt x="0" y="1724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15"/>
              <p:cNvSpPr/>
              <p:nvPr/>
            </p:nvSpPr>
            <p:spPr>
              <a:xfrm>
                <a:off x="5538216" y="1062192"/>
                <a:ext cx="2859165" cy="3884558"/>
              </a:xfrm>
              <a:custGeom>
                <a:avLst/>
                <a:gdLst/>
                <a:ahLst/>
                <a:cxnLst/>
                <a:rect l="l" t="t" r="r" b="b"/>
                <a:pathLst>
                  <a:path w="2859165" h="3884558" extrusionOk="0">
                    <a:moveTo>
                      <a:pt x="2790061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789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893" y="-13776"/>
                      <a:pt x="69105" y="8322"/>
                    </a:cubicBezTo>
                    <a:lnTo>
                      <a:pt x="2790061" y="1582519"/>
                    </a:lnTo>
                    <a:cubicBezTo>
                      <a:pt x="2828083" y="1604617"/>
                      <a:pt x="2859166" y="1663862"/>
                      <a:pt x="2859166" y="1714821"/>
                    </a:cubicBezTo>
                    <a:lnTo>
                      <a:pt x="2859166" y="3824132"/>
                    </a:lnTo>
                    <a:cubicBezTo>
                      <a:pt x="2859166" y="3874900"/>
                      <a:pt x="2828273" y="3898332"/>
                      <a:pt x="2790061" y="3876234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15"/>
              <p:cNvSpPr/>
              <p:nvPr/>
            </p:nvSpPr>
            <p:spPr>
              <a:xfrm>
                <a:off x="5533368" y="1064955"/>
                <a:ext cx="2859260" cy="3884554"/>
              </a:xfrm>
              <a:custGeom>
                <a:avLst/>
                <a:gdLst/>
                <a:ahLst/>
                <a:cxnLst/>
                <a:rect l="l" t="t" r="r" b="b"/>
                <a:pathLst>
                  <a:path w="2859260" h="3884554" extrusionOk="0">
                    <a:moveTo>
                      <a:pt x="2790156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694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988" y="-13776"/>
                      <a:pt x="69105" y="8322"/>
                    </a:cubicBezTo>
                    <a:lnTo>
                      <a:pt x="2790156" y="1582995"/>
                    </a:lnTo>
                    <a:cubicBezTo>
                      <a:pt x="2828178" y="1604998"/>
                      <a:pt x="2859261" y="1664243"/>
                      <a:pt x="2859261" y="1715297"/>
                    </a:cubicBezTo>
                    <a:lnTo>
                      <a:pt x="2859261" y="3823847"/>
                    </a:lnTo>
                    <a:cubicBezTo>
                      <a:pt x="2859261" y="3874900"/>
                      <a:pt x="2828273" y="3898332"/>
                      <a:pt x="2790156" y="38762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44;p15"/>
              <p:cNvSpPr/>
              <p:nvPr/>
            </p:nvSpPr>
            <p:spPr>
              <a:xfrm>
                <a:off x="5568443" y="1110406"/>
                <a:ext cx="2788159" cy="3702480"/>
              </a:xfrm>
              <a:custGeom>
                <a:avLst/>
                <a:gdLst/>
                <a:ahLst/>
                <a:cxnLst/>
                <a:rect l="l" t="t" r="r" b="b"/>
                <a:pathLst>
                  <a:path w="2788159" h="3702480" extrusionOk="0">
                    <a:moveTo>
                      <a:pt x="2786734" y="3702481"/>
                    </a:moveTo>
                    <a:lnTo>
                      <a:pt x="0" y="2089993"/>
                    </a:lnTo>
                    <a:lnTo>
                      <a:pt x="951" y="23640"/>
                    </a:lnTo>
                    <a:cubicBezTo>
                      <a:pt x="951" y="2494"/>
                      <a:pt x="15779" y="-6078"/>
                      <a:pt x="34030" y="4590"/>
                    </a:cubicBezTo>
                    <a:lnTo>
                      <a:pt x="2755080" y="1578691"/>
                    </a:lnTo>
                    <a:cubicBezTo>
                      <a:pt x="2774529" y="1591407"/>
                      <a:pt x="2786800" y="1612610"/>
                      <a:pt x="2788160" y="16358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45;p15"/>
              <p:cNvSpPr/>
              <p:nvPr/>
            </p:nvSpPr>
            <p:spPr>
              <a:xfrm>
                <a:off x="5762166" y="1403396"/>
                <a:ext cx="919754" cy="618313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13" extrusionOk="0">
                    <a:moveTo>
                      <a:pt x="906256" y="616665"/>
                    </a:moveTo>
                    <a:lnTo>
                      <a:pt x="13498" y="100220"/>
                    </a:lnTo>
                    <a:cubicBezTo>
                      <a:pt x="5142" y="94185"/>
                      <a:pt x="133" y="84538"/>
                      <a:pt x="0" y="74217"/>
                    </a:cubicBezTo>
                    <a:lnTo>
                      <a:pt x="0" y="11828"/>
                    </a:lnTo>
                    <a:cubicBezTo>
                      <a:pt x="0" y="2303"/>
                      <a:pt x="5988" y="-2745"/>
                      <a:pt x="13498" y="1541"/>
                    </a:cubicBezTo>
                    <a:lnTo>
                      <a:pt x="906256" y="517986"/>
                    </a:lnTo>
                    <a:cubicBezTo>
                      <a:pt x="914574" y="524052"/>
                      <a:pt x="919574" y="533680"/>
                      <a:pt x="919754" y="543990"/>
                    </a:cubicBezTo>
                    <a:lnTo>
                      <a:pt x="919754" y="606378"/>
                    </a:lnTo>
                    <a:cubicBezTo>
                      <a:pt x="919754" y="616380"/>
                      <a:pt x="913671" y="621047"/>
                      <a:pt x="906256" y="61666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15"/>
              <p:cNvSpPr/>
              <p:nvPr/>
            </p:nvSpPr>
            <p:spPr>
              <a:xfrm>
                <a:off x="5766158" y="1584712"/>
                <a:ext cx="686298" cy="451951"/>
              </a:xfrm>
              <a:custGeom>
                <a:avLst/>
                <a:gdLst/>
                <a:ahLst/>
                <a:cxnLst/>
                <a:rect l="l" t="t" r="r" b="b"/>
                <a:pathLst>
                  <a:path w="686298" h="451951" extrusionOk="0">
                    <a:moveTo>
                      <a:pt x="672991" y="450304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057"/>
                    </a:lnTo>
                    <a:cubicBezTo>
                      <a:pt x="681261" y="389103"/>
                      <a:pt x="686194" y="398708"/>
                      <a:pt x="686299" y="408965"/>
                    </a:cubicBezTo>
                    <a:lnTo>
                      <a:pt x="686299" y="440017"/>
                    </a:lnTo>
                    <a:cubicBezTo>
                      <a:pt x="686299" y="450018"/>
                      <a:pt x="680405" y="454685"/>
                      <a:pt x="672991" y="45030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15"/>
              <p:cNvSpPr/>
              <p:nvPr/>
            </p:nvSpPr>
            <p:spPr>
              <a:xfrm>
                <a:off x="5766158" y="1702632"/>
                <a:ext cx="686488" cy="45175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759" extrusionOk="0">
                    <a:moveTo>
                      <a:pt x="672991" y="450018"/>
                    </a:moveTo>
                    <a:lnTo>
                      <a:pt x="13593" y="69018"/>
                    </a:lnTo>
                    <a:cubicBezTo>
                      <a:pt x="5199" y="63044"/>
                      <a:pt x="152" y="53422"/>
                      <a:pt x="0" y="43110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343"/>
                    </a:lnTo>
                    <a:cubicBezTo>
                      <a:pt x="681337" y="389344"/>
                      <a:pt x="686337" y="398964"/>
                      <a:pt x="686489" y="409251"/>
                    </a:cubicBezTo>
                    <a:lnTo>
                      <a:pt x="686489" y="440302"/>
                    </a:lnTo>
                    <a:cubicBezTo>
                      <a:pt x="686299" y="450018"/>
                      <a:pt x="680405" y="454495"/>
                      <a:pt x="672991" y="45001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48;p15"/>
              <p:cNvSpPr/>
              <p:nvPr/>
            </p:nvSpPr>
            <p:spPr>
              <a:xfrm>
                <a:off x="5766158" y="1820170"/>
                <a:ext cx="562156" cy="379997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97" extrusionOk="0">
                    <a:moveTo>
                      <a:pt x="548564" y="378390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548564" y="311048"/>
                    </a:lnTo>
                    <a:cubicBezTo>
                      <a:pt x="556948" y="317077"/>
                      <a:pt x="561985" y="326717"/>
                      <a:pt x="562157" y="337051"/>
                    </a:cubicBezTo>
                    <a:lnTo>
                      <a:pt x="562157" y="368103"/>
                    </a:lnTo>
                    <a:cubicBezTo>
                      <a:pt x="562157" y="378104"/>
                      <a:pt x="556073" y="382676"/>
                      <a:pt x="548564" y="3783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15"/>
              <p:cNvSpPr/>
              <p:nvPr/>
            </p:nvSpPr>
            <p:spPr>
              <a:xfrm>
                <a:off x="5762166" y="2639293"/>
                <a:ext cx="919754" cy="618340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40" extrusionOk="0">
                    <a:moveTo>
                      <a:pt x="906256" y="616732"/>
                    </a:moveTo>
                    <a:lnTo>
                      <a:pt x="13498" y="100287"/>
                    </a:lnTo>
                    <a:cubicBezTo>
                      <a:pt x="5142" y="94248"/>
                      <a:pt x="133" y="84609"/>
                      <a:pt x="0" y="74284"/>
                    </a:cubicBezTo>
                    <a:lnTo>
                      <a:pt x="0" y="11895"/>
                    </a:lnTo>
                    <a:cubicBezTo>
                      <a:pt x="0" y="1894"/>
                      <a:pt x="5988" y="-2678"/>
                      <a:pt x="13498" y="1608"/>
                    </a:cubicBezTo>
                    <a:lnTo>
                      <a:pt x="906256" y="518053"/>
                    </a:lnTo>
                    <a:cubicBezTo>
                      <a:pt x="914574" y="524121"/>
                      <a:pt x="919574" y="533751"/>
                      <a:pt x="919754" y="544057"/>
                    </a:cubicBezTo>
                    <a:lnTo>
                      <a:pt x="919754" y="606445"/>
                    </a:lnTo>
                    <a:cubicBezTo>
                      <a:pt x="919754" y="616447"/>
                      <a:pt x="913671" y="621019"/>
                      <a:pt x="906256" y="61673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15"/>
              <p:cNvSpPr/>
              <p:nvPr/>
            </p:nvSpPr>
            <p:spPr>
              <a:xfrm>
                <a:off x="5766158" y="2821069"/>
                <a:ext cx="686488" cy="45151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519" extrusionOk="0">
                    <a:moveTo>
                      <a:pt x="672991" y="449910"/>
                    </a:moveTo>
                    <a:lnTo>
                      <a:pt x="13593" y="68910"/>
                    </a:lnTo>
                    <a:cubicBezTo>
                      <a:pt x="5209" y="62881"/>
                      <a:pt x="171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672991" y="382664"/>
                    </a:lnTo>
                    <a:cubicBezTo>
                      <a:pt x="681308" y="388731"/>
                      <a:pt x="686308" y="398361"/>
                      <a:pt x="686489" y="408667"/>
                    </a:cubicBezTo>
                    <a:lnTo>
                      <a:pt x="686489" y="439719"/>
                    </a:lnTo>
                    <a:cubicBezTo>
                      <a:pt x="686299" y="449625"/>
                      <a:pt x="680405" y="454197"/>
                      <a:pt x="672991" y="44991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51;p15"/>
              <p:cNvSpPr/>
              <p:nvPr/>
            </p:nvSpPr>
            <p:spPr>
              <a:xfrm>
                <a:off x="5766158" y="2938486"/>
                <a:ext cx="686488" cy="451826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826" extrusionOk="0">
                    <a:moveTo>
                      <a:pt x="672991" y="450223"/>
                    </a:moveTo>
                    <a:lnTo>
                      <a:pt x="13593" y="68747"/>
                    </a:lnTo>
                    <a:cubicBezTo>
                      <a:pt x="5228" y="62756"/>
                      <a:pt x="190" y="53145"/>
                      <a:pt x="0" y="42839"/>
                    </a:cubicBezTo>
                    <a:lnTo>
                      <a:pt x="0" y="11787"/>
                    </a:lnTo>
                    <a:cubicBezTo>
                      <a:pt x="0" y="2262"/>
                      <a:pt x="6084" y="-2786"/>
                      <a:pt x="13593" y="1595"/>
                    </a:cubicBezTo>
                    <a:lnTo>
                      <a:pt x="672991" y="382595"/>
                    </a:lnTo>
                    <a:cubicBezTo>
                      <a:pt x="681308" y="388663"/>
                      <a:pt x="686308" y="398293"/>
                      <a:pt x="686489" y="408599"/>
                    </a:cubicBezTo>
                    <a:lnTo>
                      <a:pt x="686489" y="439650"/>
                    </a:lnTo>
                    <a:cubicBezTo>
                      <a:pt x="686299" y="449937"/>
                      <a:pt x="680405" y="454509"/>
                      <a:pt x="672991" y="45022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15"/>
              <p:cNvSpPr/>
              <p:nvPr/>
            </p:nvSpPr>
            <p:spPr>
              <a:xfrm>
                <a:off x="5766158" y="3056051"/>
                <a:ext cx="562156" cy="379920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20" extrusionOk="0">
                    <a:moveTo>
                      <a:pt x="548564" y="378378"/>
                    </a:moveTo>
                    <a:lnTo>
                      <a:pt x="13593" y="68910"/>
                    </a:lnTo>
                    <a:cubicBezTo>
                      <a:pt x="5199" y="62900"/>
                      <a:pt x="152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548564" y="311131"/>
                    </a:lnTo>
                    <a:cubicBezTo>
                      <a:pt x="556948" y="317161"/>
                      <a:pt x="561985" y="326800"/>
                      <a:pt x="562157" y="337134"/>
                    </a:cubicBezTo>
                    <a:lnTo>
                      <a:pt x="562157" y="368186"/>
                    </a:lnTo>
                    <a:cubicBezTo>
                      <a:pt x="562157" y="378187"/>
                      <a:pt x="556073" y="382473"/>
                      <a:pt x="548564" y="378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53;p15"/>
              <p:cNvSpPr/>
              <p:nvPr/>
            </p:nvSpPr>
            <p:spPr>
              <a:xfrm>
                <a:off x="6897600" y="3332192"/>
                <a:ext cx="1250451" cy="1162368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62368" extrusionOk="0">
                    <a:moveTo>
                      <a:pt x="9696" y="77186"/>
                    </a:moveTo>
                    <a:cubicBezTo>
                      <a:pt x="9696" y="77186"/>
                      <a:pt x="108173" y="160053"/>
                      <a:pt x="250376" y="46896"/>
                    </a:cubicBezTo>
                    <a:cubicBezTo>
                      <a:pt x="351895" y="-36543"/>
                      <a:pt x="442672" y="11082"/>
                      <a:pt x="493242" y="39657"/>
                    </a:cubicBezTo>
                    <a:cubicBezTo>
                      <a:pt x="543811" y="68232"/>
                      <a:pt x="616813" y="85758"/>
                      <a:pt x="755879" y="337409"/>
                    </a:cubicBezTo>
                    <a:cubicBezTo>
                      <a:pt x="755879" y="337409"/>
                      <a:pt x="801125" y="416276"/>
                      <a:pt x="875839" y="459519"/>
                    </a:cubicBezTo>
                    <a:cubicBezTo>
                      <a:pt x="950552" y="502763"/>
                      <a:pt x="986483" y="481617"/>
                      <a:pt x="1045227" y="392844"/>
                    </a:cubicBezTo>
                    <a:cubicBezTo>
                      <a:pt x="1103971" y="304071"/>
                      <a:pt x="1142469" y="205773"/>
                      <a:pt x="1250452" y="269972"/>
                    </a:cubicBezTo>
                    <a:lnTo>
                      <a:pt x="1250452" y="1162369"/>
                    </a:lnTo>
                    <a:lnTo>
                      <a:pt x="0" y="439707"/>
                    </a:lnTo>
                    <a:lnTo>
                      <a:pt x="0" y="71375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54;p15"/>
              <p:cNvSpPr/>
              <p:nvPr/>
            </p:nvSpPr>
            <p:spPr>
              <a:xfrm>
                <a:off x="5766443" y="2003281"/>
                <a:ext cx="882682" cy="1029375"/>
              </a:xfrm>
              <a:custGeom>
                <a:avLst/>
                <a:gdLst/>
                <a:ahLst/>
                <a:cxnLst/>
                <a:rect l="l" t="t" r="r" b="b"/>
                <a:pathLst>
                  <a:path w="882682" h="1029375" extrusionOk="0">
                    <a:moveTo>
                      <a:pt x="869090" y="1027764"/>
                    </a:moveTo>
                    <a:lnTo>
                      <a:pt x="13593" y="532464"/>
                    </a:lnTo>
                    <a:cubicBezTo>
                      <a:pt x="5209" y="526435"/>
                      <a:pt x="171" y="516796"/>
                      <a:pt x="0" y="506461"/>
                    </a:cubicBezTo>
                    <a:lnTo>
                      <a:pt x="0" y="11828"/>
                    </a:lnTo>
                    <a:cubicBezTo>
                      <a:pt x="0" y="2303"/>
                      <a:pt x="6084" y="-2745"/>
                      <a:pt x="13593" y="1541"/>
                    </a:cubicBezTo>
                    <a:lnTo>
                      <a:pt x="869090" y="496841"/>
                    </a:lnTo>
                    <a:cubicBezTo>
                      <a:pt x="877474" y="502870"/>
                      <a:pt x="882512" y="512510"/>
                      <a:pt x="882683" y="522844"/>
                    </a:cubicBezTo>
                    <a:lnTo>
                      <a:pt x="882683" y="1017668"/>
                    </a:lnTo>
                    <a:cubicBezTo>
                      <a:pt x="882683" y="1027479"/>
                      <a:pt x="876599" y="1032051"/>
                      <a:pt x="869090" y="102776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55;p15"/>
              <p:cNvSpPr/>
              <p:nvPr/>
            </p:nvSpPr>
            <p:spPr>
              <a:xfrm>
                <a:off x="6897600" y="3388613"/>
                <a:ext cx="1250451" cy="1106424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06424" extrusionOk="0">
                    <a:moveTo>
                      <a:pt x="0" y="0"/>
                    </a:moveTo>
                    <a:lnTo>
                      <a:pt x="0" y="383096"/>
                    </a:lnTo>
                    <a:lnTo>
                      <a:pt x="1250452" y="1106424"/>
                    </a:lnTo>
                    <a:lnTo>
                      <a:pt x="1250452" y="214027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15"/>
              <p:cNvSpPr/>
              <p:nvPr/>
            </p:nvSpPr>
            <p:spPr>
              <a:xfrm>
                <a:off x="7389036" y="3376326"/>
                <a:ext cx="9505" cy="678751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678751" extrusionOk="0">
                    <a:moveTo>
                      <a:pt x="0" y="0"/>
                    </a:moveTo>
                    <a:lnTo>
                      <a:pt x="0" y="678752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57;p15"/>
              <p:cNvSpPr/>
              <p:nvPr/>
            </p:nvSpPr>
            <p:spPr>
              <a:xfrm>
                <a:off x="7771633" y="3805618"/>
                <a:ext cx="9505" cy="470725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470725" extrusionOk="0">
                    <a:moveTo>
                      <a:pt x="0" y="0"/>
                    </a:moveTo>
                    <a:lnTo>
                      <a:pt x="0" y="470725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15"/>
              <p:cNvSpPr/>
              <p:nvPr/>
            </p:nvSpPr>
            <p:spPr>
              <a:xfrm>
                <a:off x="6897600" y="3332663"/>
                <a:ext cx="1250451" cy="479359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479359" extrusionOk="0">
                    <a:moveTo>
                      <a:pt x="0" y="70905"/>
                    </a:moveTo>
                    <a:cubicBezTo>
                      <a:pt x="221859" y="208732"/>
                      <a:pt x="253227" y="-102831"/>
                      <a:pt x="494953" y="36996"/>
                    </a:cubicBezTo>
                    <a:cubicBezTo>
                      <a:pt x="736678" y="176823"/>
                      <a:pt x="703314" y="359036"/>
                      <a:pt x="881732" y="462288"/>
                    </a:cubicBezTo>
                    <a:cubicBezTo>
                      <a:pt x="1060151" y="565538"/>
                      <a:pt x="1064333" y="162250"/>
                      <a:pt x="1250452" y="269978"/>
                    </a:cubicBezTo>
                  </a:path>
                </a:pathLst>
              </a:custGeom>
              <a:noFill/>
              <a:ln w="14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15"/>
              <p:cNvSpPr/>
              <p:nvPr/>
            </p:nvSpPr>
            <p:spPr>
              <a:xfrm rot="-1801764">
                <a:off x="7364922" y="3334621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60;p15"/>
              <p:cNvSpPr/>
              <p:nvPr/>
            </p:nvSpPr>
            <p:spPr>
              <a:xfrm rot="-1790023">
                <a:off x="8141346" y="3571007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4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4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61;p15"/>
              <p:cNvSpPr/>
              <p:nvPr/>
            </p:nvSpPr>
            <p:spPr>
              <a:xfrm rot="-1790023">
                <a:off x="7763340" y="3766404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3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3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62;p15"/>
              <p:cNvSpPr/>
              <p:nvPr/>
            </p:nvSpPr>
            <p:spPr>
              <a:xfrm rot="-1801764">
                <a:off x="6873548" y="3361832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p15"/>
              <p:cNvSpPr/>
              <p:nvPr/>
            </p:nvSpPr>
            <p:spPr>
              <a:xfrm>
                <a:off x="6868038" y="2430219"/>
                <a:ext cx="78705" cy="316778"/>
              </a:xfrm>
              <a:custGeom>
                <a:avLst/>
                <a:gdLst/>
                <a:ahLst/>
                <a:cxnLst/>
                <a:rect l="l" t="t" r="r" b="b"/>
                <a:pathLst>
                  <a:path w="78705" h="316778" extrusionOk="0">
                    <a:moveTo>
                      <a:pt x="64828" y="315171"/>
                    </a:moveTo>
                    <a:lnTo>
                      <a:pt x="13593" y="285548"/>
                    </a:lnTo>
                    <a:cubicBezTo>
                      <a:pt x="5209" y="279519"/>
                      <a:pt x="171" y="269880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193" y="37136"/>
                      <a:pt x="78335" y="46566"/>
                      <a:pt x="78706" y="56758"/>
                    </a:cubicBezTo>
                    <a:lnTo>
                      <a:pt x="78706" y="304884"/>
                    </a:lnTo>
                    <a:cubicBezTo>
                      <a:pt x="78706" y="314885"/>
                      <a:pt x="72337" y="319457"/>
                      <a:pt x="64828" y="3151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64;p15"/>
              <p:cNvSpPr/>
              <p:nvPr/>
            </p:nvSpPr>
            <p:spPr>
              <a:xfrm>
                <a:off x="6986477" y="2241366"/>
                <a:ext cx="78420" cy="57392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73928" extrusionOk="0">
                    <a:moveTo>
                      <a:pt x="64828" y="572319"/>
                    </a:moveTo>
                    <a:lnTo>
                      <a:pt x="13593" y="542601"/>
                    </a:lnTo>
                    <a:cubicBezTo>
                      <a:pt x="5199" y="536629"/>
                      <a:pt x="152" y="527009"/>
                      <a:pt x="0" y="516693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4828" y="31299"/>
                    </a:lnTo>
                    <a:cubicBezTo>
                      <a:pt x="73211" y="37328"/>
                      <a:pt x="78249" y="46967"/>
                      <a:pt x="78421" y="57302"/>
                    </a:cubicBezTo>
                    <a:lnTo>
                      <a:pt x="78421" y="562127"/>
                    </a:lnTo>
                    <a:cubicBezTo>
                      <a:pt x="78041" y="572033"/>
                      <a:pt x="71957" y="576605"/>
                      <a:pt x="64828" y="5723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15"/>
              <p:cNvSpPr/>
              <p:nvPr/>
            </p:nvSpPr>
            <p:spPr>
              <a:xfrm>
                <a:off x="7222119" y="2426981"/>
                <a:ext cx="78420" cy="524860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24860" extrusionOk="0">
                    <a:moveTo>
                      <a:pt x="64828" y="523197"/>
                    </a:moveTo>
                    <a:lnTo>
                      <a:pt x="13593" y="493574"/>
                    </a:lnTo>
                    <a:cubicBezTo>
                      <a:pt x="5181" y="487583"/>
                      <a:pt x="124" y="477915"/>
                      <a:pt x="0" y="467571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231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513005"/>
                    </a:lnTo>
                    <a:cubicBezTo>
                      <a:pt x="78421" y="523006"/>
                      <a:pt x="72337" y="527578"/>
                      <a:pt x="64828" y="52319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15"/>
              <p:cNvSpPr/>
              <p:nvPr/>
            </p:nvSpPr>
            <p:spPr>
              <a:xfrm>
                <a:off x="7340177" y="2573447"/>
                <a:ext cx="78420" cy="446687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446687" extrusionOk="0">
                    <a:moveTo>
                      <a:pt x="64827" y="445025"/>
                    </a:moveTo>
                    <a:lnTo>
                      <a:pt x="13593" y="415402"/>
                    </a:lnTo>
                    <a:cubicBezTo>
                      <a:pt x="5209" y="409373"/>
                      <a:pt x="171" y="399734"/>
                      <a:pt x="0" y="389399"/>
                    </a:cubicBezTo>
                    <a:lnTo>
                      <a:pt x="0" y="11828"/>
                    </a:lnTo>
                    <a:cubicBezTo>
                      <a:pt x="0" y="2303"/>
                      <a:pt x="6083" y="-2745"/>
                      <a:pt x="13593" y="1541"/>
                    </a:cubicBezTo>
                    <a:lnTo>
                      <a:pt x="64827" y="31259"/>
                    </a:lnTo>
                    <a:cubicBezTo>
                      <a:pt x="73221" y="37231"/>
                      <a:pt x="78268" y="46851"/>
                      <a:pt x="78421" y="57167"/>
                    </a:cubicBezTo>
                    <a:lnTo>
                      <a:pt x="78421" y="434738"/>
                    </a:lnTo>
                    <a:cubicBezTo>
                      <a:pt x="78421" y="444835"/>
                      <a:pt x="72337" y="449406"/>
                      <a:pt x="64827" y="44502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67;p15"/>
              <p:cNvSpPr/>
              <p:nvPr/>
            </p:nvSpPr>
            <p:spPr>
              <a:xfrm>
                <a:off x="7575249" y="2900319"/>
                <a:ext cx="78325" cy="255777"/>
              </a:xfrm>
              <a:custGeom>
                <a:avLst/>
                <a:gdLst/>
                <a:ahLst/>
                <a:cxnLst/>
                <a:rect l="l" t="t" r="r" b="b"/>
                <a:pathLst>
                  <a:path w="78325" h="255777" extrusionOk="0">
                    <a:moveTo>
                      <a:pt x="64828" y="254170"/>
                    </a:moveTo>
                    <a:lnTo>
                      <a:pt x="13498" y="224547"/>
                    </a:lnTo>
                    <a:cubicBezTo>
                      <a:pt x="5143" y="218508"/>
                      <a:pt x="133" y="208869"/>
                      <a:pt x="0" y="198544"/>
                    </a:cubicBezTo>
                    <a:lnTo>
                      <a:pt x="0" y="11949"/>
                    </a:lnTo>
                    <a:cubicBezTo>
                      <a:pt x="0" y="1853"/>
                      <a:pt x="5989" y="-2719"/>
                      <a:pt x="13498" y="1662"/>
                    </a:cubicBezTo>
                    <a:lnTo>
                      <a:pt x="64828" y="31285"/>
                    </a:lnTo>
                    <a:cubicBezTo>
                      <a:pt x="73145" y="37352"/>
                      <a:pt x="78145" y="46982"/>
                      <a:pt x="78325" y="57288"/>
                    </a:cubicBezTo>
                    <a:lnTo>
                      <a:pt x="78325" y="243883"/>
                    </a:lnTo>
                    <a:cubicBezTo>
                      <a:pt x="78325" y="253884"/>
                      <a:pt x="72242" y="258456"/>
                      <a:pt x="64828" y="2541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p15"/>
              <p:cNvSpPr/>
              <p:nvPr/>
            </p:nvSpPr>
            <p:spPr>
              <a:xfrm>
                <a:off x="7693593" y="2520557"/>
                <a:ext cx="78420" cy="70383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703833" extrusionOk="0">
                    <a:moveTo>
                      <a:pt x="64447" y="702226"/>
                    </a:moveTo>
                    <a:lnTo>
                      <a:pt x="13593" y="672508"/>
                    </a:lnTo>
                    <a:cubicBezTo>
                      <a:pt x="5199" y="666536"/>
                      <a:pt x="152" y="656916"/>
                      <a:pt x="0" y="646600"/>
                    </a:cubicBezTo>
                    <a:lnTo>
                      <a:pt x="0" y="11949"/>
                    </a:lnTo>
                    <a:cubicBezTo>
                      <a:pt x="0" y="1853"/>
                      <a:pt x="6083" y="-2719"/>
                      <a:pt x="13593" y="1662"/>
                    </a:cubicBezTo>
                    <a:lnTo>
                      <a:pt x="64828" y="31285"/>
                    </a:lnTo>
                    <a:cubicBezTo>
                      <a:pt x="73221" y="37305"/>
                      <a:pt x="78268" y="46954"/>
                      <a:pt x="78421" y="57288"/>
                    </a:cubicBezTo>
                    <a:lnTo>
                      <a:pt x="78421" y="691939"/>
                    </a:lnTo>
                    <a:cubicBezTo>
                      <a:pt x="78040" y="701940"/>
                      <a:pt x="71957" y="706512"/>
                      <a:pt x="64447" y="702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69;p15"/>
              <p:cNvSpPr/>
              <p:nvPr/>
            </p:nvSpPr>
            <p:spPr>
              <a:xfrm>
                <a:off x="7981135" y="3135165"/>
                <a:ext cx="78420" cy="25581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255818" extrusionOk="0">
                    <a:moveTo>
                      <a:pt x="64828" y="254211"/>
                    </a:moveTo>
                    <a:lnTo>
                      <a:pt x="13593" y="224493"/>
                    </a:lnTo>
                    <a:cubicBezTo>
                      <a:pt x="5199" y="218521"/>
                      <a:pt x="152" y="208900"/>
                      <a:pt x="0" y="19858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240" y="37317"/>
                      <a:pt x="78297" y="46985"/>
                      <a:pt x="78421" y="57329"/>
                    </a:cubicBezTo>
                    <a:lnTo>
                      <a:pt x="78421" y="243924"/>
                    </a:lnTo>
                    <a:cubicBezTo>
                      <a:pt x="78421" y="253925"/>
                      <a:pt x="72337" y="258497"/>
                      <a:pt x="64828" y="25421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70;p15"/>
              <p:cNvSpPr/>
              <p:nvPr/>
            </p:nvSpPr>
            <p:spPr>
              <a:xfrm>
                <a:off x="8099193" y="3142308"/>
                <a:ext cx="78420" cy="31696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316963" extrusionOk="0">
                    <a:moveTo>
                      <a:pt x="64828" y="315266"/>
                    </a:moveTo>
                    <a:lnTo>
                      <a:pt x="13593" y="285548"/>
                    </a:lnTo>
                    <a:cubicBezTo>
                      <a:pt x="5181" y="279557"/>
                      <a:pt x="124" y="269889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4" y="-2678"/>
                      <a:pt x="13593" y="1608"/>
                    </a:cubicBezTo>
                    <a:lnTo>
                      <a:pt x="64828" y="31230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305360"/>
                    </a:lnTo>
                    <a:cubicBezTo>
                      <a:pt x="78421" y="315266"/>
                      <a:pt x="72337" y="319648"/>
                      <a:pt x="64828" y="315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71" name="Google Shape;471;p15"/>
            <p:cNvSpPr/>
            <p:nvPr/>
          </p:nvSpPr>
          <p:spPr>
            <a:xfrm>
              <a:off x="2810939" y="4355647"/>
              <a:ext cx="905825" cy="524291"/>
            </a:xfrm>
            <a:custGeom>
              <a:avLst/>
              <a:gdLst/>
              <a:ahLst/>
              <a:cxnLst/>
              <a:rect l="l" t="t" r="r" b="b"/>
              <a:pathLst>
                <a:path w="905825" h="524291" extrusionOk="0">
                  <a:moveTo>
                    <a:pt x="456810" y="505052"/>
                  </a:moveTo>
                  <a:lnTo>
                    <a:pt x="32483" y="259879"/>
                  </a:lnTo>
                  <a:cubicBezTo>
                    <a:pt x="-15615" y="231970"/>
                    <a:pt x="-9626" y="183679"/>
                    <a:pt x="45981" y="151294"/>
                  </a:cubicBezTo>
                  <a:lnTo>
                    <a:pt x="261376" y="26611"/>
                  </a:lnTo>
                  <a:cubicBezTo>
                    <a:pt x="316889" y="-5488"/>
                    <a:pt x="400632" y="-9298"/>
                    <a:pt x="449015" y="19277"/>
                  </a:cubicBezTo>
                  <a:lnTo>
                    <a:pt x="873342" y="264832"/>
                  </a:lnTo>
                  <a:cubicBezTo>
                    <a:pt x="921440" y="292645"/>
                    <a:pt x="915451" y="341032"/>
                    <a:pt x="859844" y="373322"/>
                  </a:cubicBezTo>
                  <a:lnTo>
                    <a:pt x="644449" y="498004"/>
                  </a:lnTo>
                  <a:cubicBezTo>
                    <a:pt x="588937" y="529627"/>
                    <a:pt x="505193" y="533627"/>
                    <a:pt x="456810" y="505052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Google Shape;472;p15"/>
            <p:cNvSpPr/>
            <p:nvPr/>
          </p:nvSpPr>
          <p:spPr>
            <a:xfrm>
              <a:off x="2999385" y="3858955"/>
              <a:ext cx="906089" cy="910207"/>
            </a:xfrm>
            <a:custGeom>
              <a:avLst/>
              <a:gdLst/>
              <a:ahLst/>
              <a:cxnLst/>
              <a:rect l="l" t="t" r="r" b="b"/>
              <a:pathLst>
                <a:path w="906089" h="910207" extrusionOk="0">
                  <a:moveTo>
                    <a:pt x="906089" y="695706"/>
                  </a:moveTo>
                  <a:lnTo>
                    <a:pt x="906089" y="102203"/>
                  </a:lnTo>
                  <a:lnTo>
                    <a:pt x="23" y="0"/>
                  </a:lnTo>
                  <a:lnTo>
                    <a:pt x="23" y="597218"/>
                  </a:lnTo>
                  <a:lnTo>
                    <a:pt x="23" y="597218"/>
                  </a:lnTo>
                  <a:cubicBezTo>
                    <a:pt x="-547" y="615506"/>
                    <a:pt x="9528" y="632936"/>
                    <a:pt x="32342" y="645891"/>
                  </a:cubicBezTo>
                  <a:lnTo>
                    <a:pt x="456668" y="891445"/>
                  </a:lnTo>
                  <a:cubicBezTo>
                    <a:pt x="504766" y="919258"/>
                    <a:pt x="588795" y="915734"/>
                    <a:pt x="644307" y="883634"/>
                  </a:cubicBezTo>
                  <a:lnTo>
                    <a:pt x="859702" y="758952"/>
                  </a:lnTo>
                  <a:cubicBezTo>
                    <a:pt x="890975" y="740855"/>
                    <a:pt x="906565" y="717518"/>
                    <a:pt x="905614" y="6957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5"/>
            <p:cNvSpPr/>
            <p:nvPr/>
          </p:nvSpPr>
          <p:spPr>
            <a:xfrm>
              <a:off x="2999385" y="3718383"/>
              <a:ext cx="905566" cy="524522"/>
            </a:xfrm>
            <a:custGeom>
              <a:avLst/>
              <a:gdLst/>
              <a:ahLst/>
              <a:cxnLst/>
              <a:rect l="l" t="t" r="r" b="b"/>
              <a:pathLst>
                <a:path w="905566" h="524522" extrusionOk="0">
                  <a:moveTo>
                    <a:pt x="905519" y="307545"/>
                  </a:moveTo>
                  <a:lnTo>
                    <a:pt x="905519" y="242775"/>
                  </a:lnTo>
                  <a:lnTo>
                    <a:pt x="835843" y="242775"/>
                  </a:lnTo>
                  <a:lnTo>
                    <a:pt x="448874" y="18842"/>
                  </a:lnTo>
                  <a:cubicBezTo>
                    <a:pt x="400776" y="-9066"/>
                    <a:pt x="316747" y="-5542"/>
                    <a:pt x="261235" y="26557"/>
                  </a:cubicBezTo>
                  <a:lnTo>
                    <a:pt x="45839" y="151716"/>
                  </a:lnTo>
                  <a:cubicBezTo>
                    <a:pt x="42009" y="153897"/>
                    <a:pt x="38296" y="156279"/>
                    <a:pt x="34718" y="158860"/>
                  </a:cubicBezTo>
                  <a:lnTo>
                    <a:pt x="23" y="141048"/>
                  </a:lnTo>
                  <a:cubicBezTo>
                    <a:pt x="23" y="141048"/>
                    <a:pt x="23" y="209533"/>
                    <a:pt x="23" y="211819"/>
                  </a:cubicBezTo>
                  <a:lnTo>
                    <a:pt x="23" y="211819"/>
                  </a:lnTo>
                  <a:cubicBezTo>
                    <a:pt x="-547" y="229916"/>
                    <a:pt x="9528" y="247347"/>
                    <a:pt x="32342" y="260301"/>
                  </a:cubicBezTo>
                  <a:lnTo>
                    <a:pt x="456668" y="505760"/>
                  </a:lnTo>
                  <a:cubicBezTo>
                    <a:pt x="504766" y="533573"/>
                    <a:pt x="588795" y="530049"/>
                    <a:pt x="644307" y="497950"/>
                  </a:cubicBezTo>
                  <a:lnTo>
                    <a:pt x="859702" y="373363"/>
                  </a:lnTo>
                  <a:cubicBezTo>
                    <a:pt x="891926" y="354313"/>
                    <a:pt x="907230" y="330500"/>
                    <a:pt x="905424" y="308021"/>
                  </a:cubicBezTo>
                  <a:close/>
                </a:path>
              </a:pathLst>
            </a:custGeom>
            <a:solidFill>
              <a:srgbClr val="EDF0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Google Shape;474;p15"/>
            <p:cNvSpPr/>
            <p:nvPr/>
          </p:nvSpPr>
          <p:spPr>
            <a:xfrm>
              <a:off x="2999243" y="3647851"/>
              <a:ext cx="905825" cy="524031"/>
            </a:xfrm>
            <a:custGeom>
              <a:avLst/>
              <a:gdLst/>
              <a:ahLst/>
              <a:cxnLst/>
              <a:rect l="l" t="t" r="r" b="b"/>
              <a:pathLst>
                <a:path w="905825" h="524031" extrusionOk="0">
                  <a:moveTo>
                    <a:pt x="456810" y="505236"/>
                  </a:moveTo>
                  <a:lnTo>
                    <a:pt x="32483" y="259777"/>
                  </a:lnTo>
                  <a:cubicBezTo>
                    <a:pt x="-15615" y="231964"/>
                    <a:pt x="-9626" y="183577"/>
                    <a:pt x="45981" y="151192"/>
                  </a:cubicBezTo>
                  <a:lnTo>
                    <a:pt x="261376" y="26605"/>
                  </a:lnTo>
                  <a:cubicBezTo>
                    <a:pt x="316889" y="-5589"/>
                    <a:pt x="400917" y="-9018"/>
                    <a:pt x="449015" y="18795"/>
                  </a:cubicBezTo>
                  <a:lnTo>
                    <a:pt x="873342" y="264254"/>
                  </a:lnTo>
                  <a:cubicBezTo>
                    <a:pt x="921440" y="292067"/>
                    <a:pt x="915451" y="340454"/>
                    <a:pt x="859844" y="372839"/>
                  </a:cubicBezTo>
                  <a:lnTo>
                    <a:pt x="644449" y="497426"/>
                  </a:lnTo>
                  <a:cubicBezTo>
                    <a:pt x="588937" y="529620"/>
                    <a:pt x="504908" y="533050"/>
                    <a:pt x="456810" y="505236"/>
                  </a:cubicBezTo>
                  <a:close/>
                </a:path>
              </a:pathLst>
            </a:custGeom>
            <a:solidFill>
              <a:srgbClr val="E2E5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Google Shape;475;p15"/>
            <p:cNvSpPr/>
            <p:nvPr/>
          </p:nvSpPr>
          <p:spPr>
            <a:xfrm>
              <a:off x="3230772" y="3780524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293" y="12575"/>
                    <a:pt x="13716" y="14395"/>
                    <a:pt x="11312" y="16424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p15"/>
            <p:cNvSpPr/>
            <p:nvPr/>
          </p:nvSpPr>
          <p:spPr>
            <a:xfrm>
              <a:off x="3230772" y="3756847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8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8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15"/>
            <p:cNvSpPr/>
            <p:nvPr/>
          </p:nvSpPr>
          <p:spPr>
            <a:xfrm>
              <a:off x="3393243" y="3872036"/>
              <a:ext cx="129623" cy="74995"/>
            </a:xfrm>
            <a:custGeom>
              <a:avLst/>
              <a:gdLst/>
              <a:ahLst/>
              <a:cxnLst/>
              <a:rect l="l" t="t" r="r" b="b"/>
              <a:pathLst>
                <a:path w="129623" h="74995" extrusionOk="0">
                  <a:moveTo>
                    <a:pt x="128018" y="45689"/>
                  </a:moveTo>
                  <a:cubicBezTo>
                    <a:pt x="124482" y="53623"/>
                    <a:pt x="118341" y="60110"/>
                    <a:pt x="110623" y="64072"/>
                  </a:cubicBezTo>
                  <a:cubicBezTo>
                    <a:pt x="81812" y="78636"/>
                    <a:pt x="47801" y="78636"/>
                    <a:pt x="18990" y="64072"/>
                  </a:cubicBezTo>
                  <a:cubicBezTo>
                    <a:pt x="11271" y="60110"/>
                    <a:pt x="5131" y="53623"/>
                    <a:pt x="1595" y="45689"/>
                  </a:cubicBezTo>
                  <a:cubicBezTo>
                    <a:pt x="-3158" y="33497"/>
                    <a:pt x="2735" y="20448"/>
                    <a:pt x="18990" y="10923"/>
                  </a:cubicBezTo>
                  <a:cubicBezTo>
                    <a:pt x="47801" y="-3641"/>
                    <a:pt x="81812" y="-3641"/>
                    <a:pt x="110623" y="10923"/>
                  </a:cubicBezTo>
                  <a:cubicBezTo>
                    <a:pt x="126972" y="19971"/>
                    <a:pt x="132771" y="33021"/>
                    <a:pt x="128018" y="456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Google Shape;478;p15"/>
            <p:cNvSpPr/>
            <p:nvPr/>
          </p:nvSpPr>
          <p:spPr>
            <a:xfrm>
              <a:off x="3395112" y="3888323"/>
              <a:ext cx="126148" cy="58707"/>
            </a:xfrm>
            <a:custGeom>
              <a:avLst/>
              <a:gdLst/>
              <a:ahLst/>
              <a:cxnLst/>
              <a:rect l="l" t="t" r="r" b="b"/>
              <a:pathLst>
                <a:path w="126148" h="58707" extrusionOk="0">
                  <a:moveTo>
                    <a:pt x="126149" y="29401"/>
                  </a:moveTo>
                  <a:cubicBezTo>
                    <a:pt x="122613" y="37336"/>
                    <a:pt x="116472" y="43822"/>
                    <a:pt x="108754" y="47784"/>
                  </a:cubicBezTo>
                  <a:cubicBezTo>
                    <a:pt x="79942" y="62348"/>
                    <a:pt x="45932" y="62348"/>
                    <a:pt x="17120" y="47784"/>
                  </a:cubicBezTo>
                  <a:cubicBezTo>
                    <a:pt x="6959" y="47051"/>
                    <a:pt x="-683" y="38202"/>
                    <a:pt x="48" y="28030"/>
                  </a:cubicBezTo>
                  <a:cubicBezTo>
                    <a:pt x="704" y="18867"/>
                    <a:pt x="7976" y="11580"/>
                    <a:pt x="17120" y="10923"/>
                  </a:cubicBezTo>
                  <a:cubicBezTo>
                    <a:pt x="45932" y="-3641"/>
                    <a:pt x="79942" y="-3641"/>
                    <a:pt x="108754" y="10923"/>
                  </a:cubicBezTo>
                  <a:cubicBezTo>
                    <a:pt x="116491" y="14904"/>
                    <a:pt x="122632" y="21429"/>
                    <a:pt x="126149" y="29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Google Shape;479;p15"/>
            <p:cNvSpPr/>
            <p:nvPr/>
          </p:nvSpPr>
          <p:spPr>
            <a:xfrm>
              <a:off x="3543979" y="3964737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321" y="12585"/>
                    <a:pt x="13745" y="14366"/>
                    <a:pt x="11312" y="16328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Google Shape;480;p15"/>
            <p:cNvSpPr/>
            <p:nvPr/>
          </p:nvSpPr>
          <p:spPr>
            <a:xfrm>
              <a:off x="3543979" y="3941061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9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9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Google Shape;481;p15"/>
            <p:cNvSpPr/>
            <p:nvPr/>
          </p:nvSpPr>
          <p:spPr>
            <a:xfrm>
              <a:off x="5673026" y="4464079"/>
              <a:ext cx="468241" cy="270891"/>
            </a:xfrm>
            <a:custGeom>
              <a:avLst/>
              <a:gdLst/>
              <a:ahLst/>
              <a:cxnLst/>
              <a:rect l="l" t="t" r="r" b="b"/>
              <a:pathLst>
                <a:path w="468241" h="270891" extrusionOk="0">
                  <a:moveTo>
                    <a:pt x="468242" y="135445"/>
                  </a:moveTo>
                  <a:cubicBezTo>
                    <a:pt x="468242" y="210250"/>
                    <a:pt x="363422" y="270891"/>
                    <a:pt x="234121" y="270891"/>
                  </a:cubicBezTo>
                  <a:cubicBezTo>
                    <a:pt x="104819" y="270891"/>
                    <a:pt x="0" y="210250"/>
                    <a:pt x="0" y="135445"/>
                  </a:cubicBezTo>
                  <a:cubicBezTo>
                    <a:pt x="0" y="60641"/>
                    <a:pt x="104819" y="0"/>
                    <a:pt x="234121" y="0"/>
                  </a:cubicBezTo>
                  <a:cubicBezTo>
                    <a:pt x="363422" y="0"/>
                    <a:pt x="468242" y="60641"/>
                    <a:pt x="468242" y="1354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Google Shape;482;p15"/>
            <p:cNvSpPr/>
            <p:nvPr/>
          </p:nvSpPr>
          <p:spPr>
            <a:xfrm>
              <a:off x="5819482" y="3280817"/>
              <a:ext cx="243195" cy="356577"/>
            </a:xfrm>
            <a:custGeom>
              <a:avLst/>
              <a:gdLst/>
              <a:ahLst/>
              <a:cxnLst/>
              <a:rect l="l" t="t" r="r" b="b"/>
              <a:pathLst>
                <a:path w="243195" h="356577" extrusionOk="0">
                  <a:moveTo>
                    <a:pt x="85669" y="11781"/>
                  </a:moveTo>
                  <a:cubicBezTo>
                    <a:pt x="95174" y="-3744"/>
                    <a:pt x="169318" y="-14031"/>
                    <a:pt x="193652" y="48738"/>
                  </a:cubicBezTo>
                  <a:cubicBezTo>
                    <a:pt x="203157" y="72551"/>
                    <a:pt x="201446" y="133416"/>
                    <a:pt x="209145" y="171611"/>
                  </a:cubicBezTo>
                  <a:cubicBezTo>
                    <a:pt x="216845" y="209806"/>
                    <a:pt x="235000" y="231523"/>
                    <a:pt x="241559" y="262479"/>
                  </a:cubicBezTo>
                  <a:cubicBezTo>
                    <a:pt x="248118" y="293436"/>
                    <a:pt x="237472" y="345442"/>
                    <a:pt x="162854" y="354681"/>
                  </a:cubicBezTo>
                  <a:cubicBezTo>
                    <a:pt x="88236" y="363921"/>
                    <a:pt x="30917" y="337632"/>
                    <a:pt x="13332" y="313819"/>
                  </a:cubicBezTo>
                  <a:cubicBezTo>
                    <a:pt x="-4253" y="290007"/>
                    <a:pt x="-4634" y="239334"/>
                    <a:pt x="13332" y="212092"/>
                  </a:cubicBezTo>
                  <a:cubicBezTo>
                    <a:pt x="31297" y="184851"/>
                    <a:pt x="45556" y="162848"/>
                    <a:pt x="45080" y="127415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15"/>
            <p:cNvSpPr/>
            <p:nvPr/>
          </p:nvSpPr>
          <p:spPr>
            <a:xfrm>
              <a:off x="5837923" y="3277536"/>
              <a:ext cx="116085" cy="143945"/>
            </a:xfrm>
            <a:custGeom>
              <a:avLst/>
              <a:gdLst/>
              <a:ahLst/>
              <a:cxnLst/>
              <a:rect l="l" t="t" r="r" b="b"/>
              <a:pathLst>
                <a:path w="116085" h="143945" extrusionOk="0">
                  <a:moveTo>
                    <a:pt x="116086" y="4300"/>
                  </a:moveTo>
                  <a:cubicBezTo>
                    <a:pt x="116086" y="4300"/>
                    <a:pt x="60383" y="-11798"/>
                    <a:pt x="26639" y="18301"/>
                  </a:cubicBezTo>
                  <a:cubicBezTo>
                    <a:pt x="3978" y="39285"/>
                    <a:pt x="-5176" y="71137"/>
                    <a:pt x="2875" y="100979"/>
                  </a:cubicBezTo>
                  <a:cubicBezTo>
                    <a:pt x="7343" y="118600"/>
                    <a:pt x="16373" y="142603"/>
                    <a:pt x="30346" y="143936"/>
                  </a:cubicBezTo>
                  <a:cubicBezTo>
                    <a:pt x="44319" y="145270"/>
                    <a:pt x="116086" y="4300"/>
                    <a:pt x="116086" y="4300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15"/>
            <p:cNvSpPr/>
            <p:nvPr/>
          </p:nvSpPr>
          <p:spPr>
            <a:xfrm>
              <a:off x="5860663" y="3433950"/>
              <a:ext cx="143677" cy="161015"/>
            </a:xfrm>
            <a:custGeom>
              <a:avLst/>
              <a:gdLst/>
              <a:ahLst/>
              <a:cxnLst/>
              <a:rect l="l" t="t" r="r" b="b"/>
              <a:pathLst>
                <a:path w="143677" h="161015" extrusionOk="0">
                  <a:moveTo>
                    <a:pt x="114638" y="0"/>
                  </a:moveTo>
                  <a:cubicBezTo>
                    <a:pt x="114638" y="0"/>
                    <a:pt x="110931" y="62103"/>
                    <a:pt x="112072" y="66675"/>
                  </a:cubicBezTo>
                  <a:cubicBezTo>
                    <a:pt x="113212" y="71247"/>
                    <a:pt x="136406" y="76200"/>
                    <a:pt x="142965" y="81153"/>
                  </a:cubicBezTo>
                  <a:cubicBezTo>
                    <a:pt x="149524" y="86106"/>
                    <a:pt x="109220" y="149638"/>
                    <a:pt x="88783" y="158972"/>
                  </a:cubicBezTo>
                  <a:cubicBezTo>
                    <a:pt x="68346" y="168307"/>
                    <a:pt x="4944" y="144399"/>
                    <a:pt x="477" y="112871"/>
                  </a:cubicBezTo>
                  <a:cubicBezTo>
                    <a:pt x="-3515" y="83725"/>
                    <a:pt x="18632" y="61151"/>
                    <a:pt x="27187" y="53245"/>
                  </a:cubicBezTo>
                  <a:cubicBezTo>
                    <a:pt x="32995" y="52692"/>
                    <a:pt x="38841" y="52531"/>
                    <a:pt x="44678" y="52769"/>
                  </a:cubicBezTo>
                  <a:lnTo>
                    <a:pt x="46579" y="22670"/>
                  </a:lnTo>
                  <a:cubicBezTo>
                    <a:pt x="74335" y="13811"/>
                    <a:pt x="114638" y="0"/>
                    <a:pt x="114638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15"/>
            <p:cNvSpPr/>
            <p:nvPr/>
          </p:nvSpPr>
          <p:spPr>
            <a:xfrm>
              <a:off x="5729287" y="3551002"/>
              <a:ext cx="121787" cy="284211"/>
            </a:xfrm>
            <a:custGeom>
              <a:avLst/>
              <a:gdLst/>
              <a:ahLst/>
              <a:cxnLst/>
              <a:rect l="l" t="t" r="r" b="b"/>
              <a:pathLst>
                <a:path w="121787" h="284211" extrusionOk="0">
                  <a:moveTo>
                    <a:pt x="96303" y="391"/>
                  </a:moveTo>
                  <a:cubicBezTo>
                    <a:pt x="96303" y="-1418"/>
                    <a:pt x="86797" y="3630"/>
                    <a:pt x="86797" y="3725"/>
                  </a:cubicBezTo>
                  <a:cubicBezTo>
                    <a:pt x="86797" y="3820"/>
                    <a:pt x="82330" y="163269"/>
                    <a:pt x="74535" y="177747"/>
                  </a:cubicBezTo>
                  <a:lnTo>
                    <a:pt x="74535" y="177747"/>
                  </a:lnTo>
                  <a:cubicBezTo>
                    <a:pt x="54669" y="211560"/>
                    <a:pt x="2103" y="268901"/>
                    <a:pt x="772" y="275283"/>
                  </a:cubicBezTo>
                  <a:cubicBezTo>
                    <a:pt x="-3125" y="294333"/>
                    <a:pt x="8092" y="277283"/>
                    <a:pt x="26152" y="275283"/>
                  </a:cubicBezTo>
                  <a:cubicBezTo>
                    <a:pt x="36323" y="274044"/>
                    <a:pt x="96113" y="213466"/>
                    <a:pt x="109516" y="199654"/>
                  </a:cubicBezTo>
                  <a:lnTo>
                    <a:pt x="110371" y="200131"/>
                  </a:lnTo>
                  <a:lnTo>
                    <a:pt x="110371" y="198607"/>
                  </a:lnTo>
                  <a:lnTo>
                    <a:pt x="112082" y="196797"/>
                  </a:lnTo>
                  <a:cubicBezTo>
                    <a:pt x="112424" y="192482"/>
                    <a:pt x="112424" y="188158"/>
                    <a:pt x="112082" y="183843"/>
                  </a:cubicBezTo>
                  <a:cubicBezTo>
                    <a:pt x="137272" y="10583"/>
                    <a:pt x="106664" y="-942"/>
                    <a:pt x="96303" y="39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15"/>
            <p:cNvSpPr/>
            <p:nvPr/>
          </p:nvSpPr>
          <p:spPr>
            <a:xfrm>
              <a:off x="5818929" y="3486611"/>
              <a:ext cx="209320" cy="241045"/>
            </a:xfrm>
            <a:custGeom>
              <a:avLst/>
              <a:gdLst/>
              <a:ahLst/>
              <a:cxnLst/>
              <a:rect l="l" t="t" r="r" b="b"/>
              <a:pathLst>
                <a:path w="209320" h="241045" extrusionOk="0">
                  <a:moveTo>
                    <a:pt x="164832" y="20110"/>
                  </a:moveTo>
                  <a:cubicBezTo>
                    <a:pt x="182322" y="22777"/>
                    <a:pt x="202189" y="32111"/>
                    <a:pt x="204945" y="41636"/>
                  </a:cubicBezTo>
                  <a:cubicBezTo>
                    <a:pt x="212141" y="76098"/>
                    <a:pt x="210439" y="111835"/>
                    <a:pt x="200002" y="145459"/>
                  </a:cubicBezTo>
                  <a:cubicBezTo>
                    <a:pt x="184889" y="185464"/>
                    <a:pt x="174718" y="210895"/>
                    <a:pt x="165973" y="228136"/>
                  </a:cubicBezTo>
                  <a:cubicBezTo>
                    <a:pt x="165973" y="228136"/>
                    <a:pt x="90594" y="260521"/>
                    <a:pt x="29758" y="222706"/>
                  </a:cubicBezTo>
                  <a:cubicBezTo>
                    <a:pt x="29758" y="222706"/>
                    <a:pt x="25576" y="179844"/>
                    <a:pt x="25291" y="156889"/>
                  </a:cubicBezTo>
                  <a:cubicBezTo>
                    <a:pt x="-30792" y="107835"/>
                    <a:pt x="17211" y="47351"/>
                    <a:pt x="64739" y="393"/>
                  </a:cubicBezTo>
                  <a:cubicBezTo>
                    <a:pt x="70433" y="-131"/>
                    <a:pt x="76155" y="-131"/>
                    <a:pt x="81849" y="393"/>
                  </a:cubicBezTo>
                  <a:cubicBezTo>
                    <a:pt x="81849" y="393"/>
                    <a:pt x="39454" y="50685"/>
                    <a:pt x="68921" y="79260"/>
                  </a:cubicBezTo>
                  <a:cubicBezTo>
                    <a:pt x="132133" y="59638"/>
                    <a:pt x="144680" y="31063"/>
                    <a:pt x="164832" y="2011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15"/>
            <p:cNvSpPr/>
            <p:nvPr/>
          </p:nvSpPr>
          <p:spPr>
            <a:xfrm>
              <a:off x="5856166" y="3289038"/>
              <a:ext cx="154042" cy="190250"/>
            </a:xfrm>
            <a:custGeom>
              <a:avLst/>
              <a:gdLst/>
              <a:ahLst/>
              <a:cxnLst/>
              <a:rect l="l" t="t" r="r" b="b"/>
              <a:pathLst>
                <a:path w="154042" h="190250" extrusionOk="0">
                  <a:moveTo>
                    <a:pt x="3263" y="67854"/>
                  </a:moveTo>
                  <a:lnTo>
                    <a:pt x="3263" y="67854"/>
                  </a:lnTo>
                  <a:cubicBezTo>
                    <a:pt x="9442" y="27945"/>
                    <a:pt x="38244" y="-2250"/>
                    <a:pt x="79308" y="132"/>
                  </a:cubicBezTo>
                  <a:cubicBezTo>
                    <a:pt x="122872" y="2484"/>
                    <a:pt x="156274" y="39784"/>
                    <a:pt x="153926" y="83437"/>
                  </a:cubicBezTo>
                  <a:cubicBezTo>
                    <a:pt x="152586" y="108288"/>
                    <a:pt x="139668" y="131053"/>
                    <a:pt x="119041" y="144912"/>
                  </a:cubicBezTo>
                  <a:cubicBezTo>
                    <a:pt x="117624" y="150960"/>
                    <a:pt x="115486" y="156808"/>
                    <a:pt x="112672" y="162342"/>
                  </a:cubicBezTo>
                  <a:cubicBezTo>
                    <a:pt x="98129" y="179297"/>
                    <a:pt x="59441" y="190060"/>
                    <a:pt x="46704" y="190251"/>
                  </a:cubicBezTo>
                  <a:cubicBezTo>
                    <a:pt x="35677" y="190251"/>
                    <a:pt x="26172" y="180059"/>
                    <a:pt x="15811" y="162914"/>
                  </a:cubicBezTo>
                  <a:cubicBezTo>
                    <a:pt x="-5672" y="127195"/>
                    <a:pt x="-158" y="87571"/>
                    <a:pt x="3263" y="67854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15"/>
            <p:cNvSpPr/>
            <p:nvPr/>
          </p:nvSpPr>
          <p:spPr>
            <a:xfrm>
              <a:off x="5862376" y="3287995"/>
              <a:ext cx="154704" cy="145954"/>
            </a:xfrm>
            <a:custGeom>
              <a:avLst/>
              <a:gdLst/>
              <a:ahLst/>
              <a:cxnLst/>
              <a:rect l="l" t="t" r="r" b="b"/>
              <a:pathLst>
                <a:path w="154704" h="145954" extrusionOk="0">
                  <a:moveTo>
                    <a:pt x="85930" y="1937"/>
                  </a:moveTo>
                  <a:cubicBezTo>
                    <a:pt x="114447" y="7557"/>
                    <a:pt x="138400" y="15748"/>
                    <a:pt x="146290" y="44038"/>
                  </a:cubicBezTo>
                  <a:cubicBezTo>
                    <a:pt x="151613" y="63659"/>
                    <a:pt x="158647" y="101188"/>
                    <a:pt x="151993" y="116523"/>
                  </a:cubicBezTo>
                  <a:lnTo>
                    <a:pt x="147811" y="127857"/>
                  </a:lnTo>
                  <a:lnTo>
                    <a:pt x="112926" y="145955"/>
                  </a:lnTo>
                  <a:cubicBezTo>
                    <a:pt x="112926" y="145955"/>
                    <a:pt x="96576" y="132334"/>
                    <a:pt x="101709" y="92424"/>
                  </a:cubicBezTo>
                  <a:cubicBezTo>
                    <a:pt x="101510" y="87043"/>
                    <a:pt x="99798" y="81823"/>
                    <a:pt x="96766" y="77375"/>
                  </a:cubicBezTo>
                  <a:cubicBezTo>
                    <a:pt x="94580" y="73594"/>
                    <a:pt x="92954" y="69517"/>
                    <a:pt x="91919" y="65278"/>
                  </a:cubicBezTo>
                  <a:cubicBezTo>
                    <a:pt x="87774" y="54496"/>
                    <a:pt x="79685" y="45704"/>
                    <a:pt x="69295" y="40704"/>
                  </a:cubicBezTo>
                  <a:cubicBezTo>
                    <a:pt x="43345" y="26130"/>
                    <a:pt x="5323" y="38704"/>
                    <a:pt x="0" y="44038"/>
                  </a:cubicBezTo>
                  <a:cubicBezTo>
                    <a:pt x="15142" y="11452"/>
                    <a:pt x="50959" y="-6102"/>
                    <a:pt x="85930" y="193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15"/>
            <p:cNvSpPr/>
            <p:nvPr/>
          </p:nvSpPr>
          <p:spPr>
            <a:xfrm>
              <a:off x="5888298" y="4552945"/>
              <a:ext cx="121626" cy="93085"/>
            </a:xfrm>
            <a:custGeom>
              <a:avLst/>
              <a:gdLst/>
              <a:ahLst/>
              <a:cxnLst/>
              <a:rect l="l" t="t" r="r" b="b"/>
              <a:pathLst>
                <a:path w="121626" h="93085" extrusionOk="0">
                  <a:moveTo>
                    <a:pt x="112478" y="2"/>
                  </a:moveTo>
                  <a:cubicBezTo>
                    <a:pt x="97840" y="11908"/>
                    <a:pt x="75121" y="3717"/>
                    <a:pt x="74456" y="4765"/>
                  </a:cubicBezTo>
                  <a:cubicBezTo>
                    <a:pt x="57422" y="19395"/>
                    <a:pt x="39590" y="33073"/>
                    <a:pt x="21035" y="45722"/>
                  </a:cubicBezTo>
                  <a:cubicBezTo>
                    <a:pt x="11529" y="52866"/>
                    <a:pt x="-2254" y="62486"/>
                    <a:pt x="313" y="76202"/>
                  </a:cubicBezTo>
                  <a:cubicBezTo>
                    <a:pt x="4875" y="100872"/>
                    <a:pt x="44228" y="93347"/>
                    <a:pt x="59057" y="85727"/>
                  </a:cubicBezTo>
                  <a:cubicBezTo>
                    <a:pt x="73886" y="78107"/>
                    <a:pt x="86053" y="65725"/>
                    <a:pt x="100121" y="57152"/>
                  </a:cubicBezTo>
                  <a:cubicBezTo>
                    <a:pt x="110102" y="50961"/>
                    <a:pt x="119987" y="47627"/>
                    <a:pt x="121604" y="35054"/>
                  </a:cubicBezTo>
                  <a:cubicBezTo>
                    <a:pt x="122079" y="27149"/>
                    <a:pt x="115045" y="-284"/>
                    <a:pt x="11247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15"/>
            <p:cNvSpPr/>
            <p:nvPr/>
          </p:nvSpPr>
          <p:spPr>
            <a:xfrm>
              <a:off x="5888421" y="4582665"/>
              <a:ext cx="121131" cy="63346"/>
            </a:xfrm>
            <a:custGeom>
              <a:avLst/>
              <a:gdLst/>
              <a:ahLst/>
              <a:cxnLst/>
              <a:rect l="l" t="t" r="r" b="b"/>
              <a:pathLst>
                <a:path w="121131" h="63346" extrusionOk="0">
                  <a:moveTo>
                    <a:pt x="120910" y="0"/>
                  </a:moveTo>
                  <a:cubicBezTo>
                    <a:pt x="118914" y="12192"/>
                    <a:pt x="109219" y="15526"/>
                    <a:pt x="99238" y="21717"/>
                  </a:cubicBezTo>
                  <a:cubicBezTo>
                    <a:pt x="84979" y="30575"/>
                    <a:pt x="72432" y="43434"/>
                    <a:pt x="57604" y="50959"/>
                  </a:cubicBezTo>
                  <a:cubicBezTo>
                    <a:pt x="42775" y="58484"/>
                    <a:pt x="9601" y="64770"/>
                    <a:pt x="0" y="47244"/>
                  </a:cubicBezTo>
                  <a:cubicBezTo>
                    <a:pt x="5228" y="70961"/>
                    <a:pt x="43916" y="63532"/>
                    <a:pt x="58554" y="56007"/>
                  </a:cubicBezTo>
                  <a:cubicBezTo>
                    <a:pt x="73193" y="48482"/>
                    <a:pt x="85550" y="36004"/>
                    <a:pt x="99618" y="27432"/>
                  </a:cubicBezTo>
                  <a:cubicBezTo>
                    <a:pt x="109599" y="21241"/>
                    <a:pt x="119484" y="17907"/>
                    <a:pt x="121101" y="5334"/>
                  </a:cubicBezTo>
                  <a:cubicBezTo>
                    <a:pt x="121177" y="3553"/>
                    <a:pt x="121110" y="1772"/>
                    <a:pt x="12091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15"/>
            <p:cNvSpPr/>
            <p:nvPr/>
          </p:nvSpPr>
          <p:spPr>
            <a:xfrm>
              <a:off x="5795742" y="4532466"/>
              <a:ext cx="111395" cy="86487"/>
            </a:xfrm>
            <a:custGeom>
              <a:avLst/>
              <a:gdLst/>
              <a:ahLst/>
              <a:cxnLst/>
              <a:rect l="l" t="t" r="r" b="b"/>
              <a:pathLst>
                <a:path w="111395" h="86487" extrusionOk="0">
                  <a:moveTo>
                    <a:pt x="102659" y="2"/>
                  </a:moveTo>
                  <a:cubicBezTo>
                    <a:pt x="89257" y="10956"/>
                    <a:pt x="69105" y="4765"/>
                    <a:pt x="68154" y="5812"/>
                  </a:cubicBezTo>
                  <a:cubicBezTo>
                    <a:pt x="52537" y="19109"/>
                    <a:pt x="36225" y="31578"/>
                    <a:pt x="19296" y="43151"/>
                  </a:cubicBezTo>
                  <a:cubicBezTo>
                    <a:pt x="10931" y="49723"/>
                    <a:pt x="-2091" y="58486"/>
                    <a:pt x="285" y="71059"/>
                  </a:cubicBezTo>
                  <a:cubicBezTo>
                    <a:pt x="4467" y="93633"/>
                    <a:pt x="40493" y="86680"/>
                    <a:pt x="54181" y="79822"/>
                  </a:cubicBezTo>
                  <a:cubicBezTo>
                    <a:pt x="67869" y="72964"/>
                    <a:pt x="78800" y="61438"/>
                    <a:pt x="91728" y="53437"/>
                  </a:cubicBezTo>
                  <a:cubicBezTo>
                    <a:pt x="101234" y="47722"/>
                    <a:pt x="109884" y="44770"/>
                    <a:pt x="111309" y="33149"/>
                  </a:cubicBezTo>
                  <a:cubicBezTo>
                    <a:pt x="112260" y="26101"/>
                    <a:pt x="105036" y="-283"/>
                    <a:pt x="102659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15"/>
            <p:cNvSpPr/>
            <p:nvPr/>
          </p:nvSpPr>
          <p:spPr>
            <a:xfrm>
              <a:off x="5796313" y="4560948"/>
              <a:ext cx="110894" cy="58013"/>
            </a:xfrm>
            <a:custGeom>
              <a:avLst/>
              <a:gdLst/>
              <a:ahLst/>
              <a:cxnLst/>
              <a:rect l="l" t="t" r="r" b="b"/>
              <a:pathLst>
                <a:path w="110894" h="58013" extrusionOk="0">
                  <a:moveTo>
                    <a:pt x="110644" y="0"/>
                  </a:moveTo>
                  <a:cubicBezTo>
                    <a:pt x="108838" y="11144"/>
                    <a:pt x="99903" y="14192"/>
                    <a:pt x="90778" y="19812"/>
                  </a:cubicBezTo>
                  <a:cubicBezTo>
                    <a:pt x="77755" y="28004"/>
                    <a:pt x="66254" y="39719"/>
                    <a:pt x="52756" y="46672"/>
                  </a:cubicBezTo>
                  <a:cubicBezTo>
                    <a:pt x="39258" y="53626"/>
                    <a:pt x="8840" y="59341"/>
                    <a:pt x="0" y="43244"/>
                  </a:cubicBezTo>
                  <a:cubicBezTo>
                    <a:pt x="4753" y="64961"/>
                    <a:pt x="40208" y="58198"/>
                    <a:pt x="53706" y="51340"/>
                  </a:cubicBezTo>
                  <a:cubicBezTo>
                    <a:pt x="67204" y="44482"/>
                    <a:pt x="78325" y="32956"/>
                    <a:pt x="91253" y="24955"/>
                  </a:cubicBezTo>
                  <a:cubicBezTo>
                    <a:pt x="100758" y="19240"/>
                    <a:pt x="109408" y="16288"/>
                    <a:pt x="110834" y="4667"/>
                  </a:cubicBezTo>
                  <a:cubicBezTo>
                    <a:pt x="110958" y="3105"/>
                    <a:pt x="110891" y="1543"/>
                    <a:pt x="11064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15"/>
            <p:cNvSpPr/>
            <p:nvPr/>
          </p:nvSpPr>
          <p:spPr>
            <a:xfrm>
              <a:off x="5813683" y="3728558"/>
              <a:ext cx="237954" cy="833275"/>
            </a:xfrm>
            <a:custGeom>
              <a:avLst/>
              <a:gdLst/>
              <a:ahLst/>
              <a:cxnLst/>
              <a:rect l="l" t="t" r="r" b="b"/>
              <a:pathLst>
                <a:path w="237954" h="833275" extrusionOk="0">
                  <a:moveTo>
                    <a:pt x="6013" y="123825"/>
                  </a:moveTo>
                  <a:cubicBezTo>
                    <a:pt x="12477" y="73342"/>
                    <a:pt x="31013" y="0"/>
                    <a:pt x="31013" y="0"/>
                  </a:cubicBezTo>
                  <a:cubicBezTo>
                    <a:pt x="48541" y="8201"/>
                    <a:pt x="67495" y="12897"/>
                    <a:pt x="86810" y="13811"/>
                  </a:cubicBezTo>
                  <a:cubicBezTo>
                    <a:pt x="115136" y="13716"/>
                    <a:pt x="143396" y="10973"/>
                    <a:pt x="171219" y="5620"/>
                  </a:cubicBezTo>
                  <a:cubicBezTo>
                    <a:pt x="180287" y="21517"/>
                    <a:pt x="190220" y="36909"/>
                    <a:pt x="200971" y="51721"/>
                  </a:cubicBezTo>
                  <a:cubicBezTo>
                    <a:pt x="215515" y="71914"/>
                    <a:pt x="243746" y="116109"/>
                    <a:pt x="236902" y="193357"/>
                  </a:cubicBezTo>
                  <a:cubicBezTo>
                    <a:pt x="232435" y="243840"/>
                    <a:pt x="204203" y="458248"/>
                    <a:pt x="204203" y="458248"/>
                  </a:cubicBezTo>
                  <a:cubicBezTo>
                    <a:pt x="215201" y="494290"/>
                    <a:pt x="221056" y="531714"/>
                    <a:pt x="221598" y="569405"/>
                  </a:cubicBezTo>
                  <a:cubicBezTo>
                    <a:pt x="218937" y="614229"/>
                    <a:pt x="213024" y="658796"/>
                    <a:pt x="203918" y="702755"/>
                  </a:cubicBezTo>
                  <a:lnTo>
                    <a:pt x="187093" y="824389"/>
                  </a:lnTo>
                  <a:cubicBezTo>
                    <a:pt x="187093" y="824389"/>
                    <a:pt x="164660" y="840676"/>
                    <a:pt x="149071" y="829151"/>
                  </a:cubicBezTo>
                  <a:lnTo>
                    <a:pt x="151067" y="710089"/>
                  </a:lnTo>
                  <a:cubicBezTo>
                    <a:pt x="149166" y="680942"/>
                    <a:pt x="146219" y="637984"/>
                    <a:pt x="144413" y="610552"/>
                  </a:cubicBezTo>
                  <a:cubicBezTo>
                    <a:pt x="141371" y="565785"/>
                    <a:pt x="133387" y="494824"/>
                    <a:pt x="131106" y="477202"/>
                  </a:cubicBezTo>
                  <a:cubicBezTo>
                    <a:pt x="128824" y="459581"/>
                    <a:pt x="123121" y="428434"/>
                    <a:pt x="120364" y="393763"/>
                  </a:cubicBezTo>
                  <a:cubicBezTo>
                    <a:pt x="117608" y="359092"/>
                    <a:pt x="104680" y="182594"/>
                    <a:pt x="104680" y="182594"/>
                  </a:cubicBezTo>
                  <a:lnTo>
                    <a:pt x="102874" y="215646"/>
                  </a:lnTo>
                  <a:cubicBezTo>
                    <a:pt x="102874" y="215646"/>
                    <a:pt x="101068" y="269272"/>
                    <a:pt x="93369" y="335470"/>
                  </a:cubicBezTo>
                  <a:cubicBezTo>
                    <a:pt x="85669" y="401669"/>
                    <a:pt x="83008" y="430720"/>
                    <a:pt x="83008" y="430720"/>
                  </a:cubicBezTo>
                  <a:cubicBezTo>
                    <a:pt x="90308" y="444074"/>
                    <a:pt x="95412" y="458514"/>
                    <a:pt x="98121" y="473488"/>
                  </a:cubicBezTo>
                  <a:cubicBezTo>
                    <a:pt x="99452" y="487775"/>
                    <a:pt x="115707" y="600932"/>
                    <a:pt x="106011" y="658463"/>
                  </a:cubicBezTo>
                  <a:lnTo>
                    <a:pt x="85954" y="804863"/>
                  </a:lnTo>
                  <a:cubicBezTo>
                    <a:pt x="75869" y="811882"/>
                    <a:pt x="63018" y="813587"/>
                    <a:pt x="51449" y="809434"/>
                  </a:cubicBezTo>
                  <a:lnTo>
                    <a:pt x="39663" y="661892"/>
                  </a:lnTo>
                  <a:cubicBezTo>
                    <a:pt x="31773" y="605790"/>
                    <a:pt x="15043" y="486823"/>
                    <a:pt x="12477" y="471392"/>
                  </a:cubicBezTo>
                  <a:cubicBezTo>
                    <a:pt x="6773" y="440226"/>
                    <a:pt x="3408" y="408670"/>
                    <a:pt x="2401" y="376999"/>
                  </a:cubicBezTo>
                  <a:cubicBezTo>
                    <a:pt x="-1782" y="312991"/>
                    <a:pt x="-451" y="174212"/>
                    <a:pt x="6013" y="12382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15"/>
            <p:cNvSpPr/>
            <p:nvPr/>
          </p:nvSpPr>
          <p:spPr>
            <a:xfrm>
              <a:off x="5803516" y="3708175"/>
              <a:ext cx="253612" cy="553963"/>
            </a:xfrm>
            <a:custGeom>
              <a:avLst/>
              <a:gdLst/>
              <a:ahLst/>
              <a:cxnLst/>
              <a:rect l="l" t="t" r="r" b="b"/>
              <a:pathLst>
                <a:path w="253612" h="553963" extrusionOk="0">
                  <a:moveTo>
                    <a:pt x="181386" y="6572"/>
                  </a:moveTo>
                  <a:lnTo>
                    <a:pt x="224731" y="93726"/>
                  </a:lnTo>
                  <a:cubicBezTo>
                    <a:pt x="224731" y="93726"/>
                    <a:pt x="291270" y="190690"/>
                    <a:pt x="222355" y="439960"/>
                  </a:cubicBezTo>
                  <a:lnTo>
                    <a:pt x="235187" y="516922"/>
                  </a:lnTo>
                  <a:cubicBezTo>
                    <a:pt x="235187" y="516922"/>
                    <a:pt x="105532" y="600265"/>
                    <a:pt x="18746" y="516922"/>
                  </a:cubicBezTo>
                  <a:cubicBezTo>
                    <a:pt x="18746" y="516922"/>
                    <a:pt x="-11291" y="286512"/>
                    <a:pt x="4678" y="180308"/>
                  </a:cubicBezTo>
                  <a:cubicBezTo>
                    <a:pt x="13613" y="119272"/>
                    <a:pt x="27121" y="59007"/>
                    <a:pt x="45077" y="0"/>
                  </a:cubicBezTo>
                  <a:cubicBezTo>
                    <a:pt x="45077" y="0"/>
                    <a:pt x="66369" y="23527"/>
                    <a:pt x="175683" y="8001"/>
                  </a:cubicBezTo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p15"/>
            <p:cNvSpPr/>
            <p:nvPr/>
          </p:nvSpPr>
          <p:spPr>
            <a:xfrm>
              <a:off x="5812662" y="3486508"/>
              <a:ext cx="71005" cy="74600"/>
            </a:xfrm>
            <a:custGeom>
              <a:avLst/>
              <a:gdLst/>
              <a:ahLst/>
              <a:cxnLst/>
              <a:rect l="l" t="t" r="r" b="b"/>
              <a:pathLst>
                <a:path w="71005" h="74600" extrusionOk="0">
                  <a:moveTo>
                    <a:pt x="71006" y="496"/>
                  </a:moveTo>
                  <a:cubicBezTo>
                    <a:pt x="71006" y="496"/>
                    <a:pt x="36596" y="-10077"/>
                    <a:pt x="0" y="66409"/>
                  </a:cubicBezTo>
                  <a:lnTo>
                    <a:pt x="13688" y="74600"/>
                  </a:lnTo>
                  <a:cubicBezTo>
                    <a:pt x="13688" y="74600"/>
                    <a:pt x="49714" y="20117"/>
                    <a:pt x="71006" y="49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15"/>
            <p:cNvSpPr/>
            <p:nvPr/>
          </p:nvSpPr>
          <p:spPr>
            <a:xfrm>
              <a:off x="5614947" y="3815235"/>
              <a:ext cx="254367" cy="147732"/>
            </a:xfrm>
            <a:custGeom>
              <a:avLst/>
              <a:gdLst/>
              <a:ahLst/>
              <a:cxnLst/>
              <a:rect l="l" t="t" r="r" b="b"/>
              <a:pathLst>
                <a:path w="254367" h="147732" extrusionOk="0">
                  <a:moveTo>
                    <a:pt x="0" y="86201"/>
                  </a:moveTo>
                  <a:lnTo>
                    <a:pt x="148096" y="0"/>
                  </a:lnTo>
                  <a:lnTo>
                    <a:pt x="254368" y="61436"/>
                  </a:lnTo>
                  <a:lnTo>
                    <a:pt x="106272" y="147733"/>
                  </a:lnTo>
                  <a:lnTo>
                    <a:pt x="0" y="8620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15"/>
            <p:cNvSpPr/>
            <p:nvPr/>
          </p:nvSpPr>
          <p:spPr>
            <a:xfrm>
              <a:off x="5694413" y="3821487"/>
              <a:ext cx="53706" cy="44771"/>
            </a:xfrm>
            <a:custGeom>
              <a:avLst/>
              <a:gdLst/>
              <a:ahLst/>
              <a:cxnLst/>
              <a:rect l="l" t="t" r="r" b="b"/>
              <a:pathLst>
                <a:path w="53706" h="44771" extrusionOk="0">
                  <a:moveTo>
                    <a:pt x="49524" y="35"/>
                  </a:moveTo>
                  <a:cubicBezTo>
                    <a:pt x="40237" y="968"/>
                    <a:pt x="31254" y="3892"/>
                    <a:pt x="23194" y="8607"/>
                  </a:cubicBezTo>
                  <a:cubicBezTo>
                    <a:pt x="20228" y="11198"/>
                    <a:pt x="17053" y="13522"/>
                    <a:pt x="13688" y="15561"/>
                  </a:cubicBezTo>
                  <a:cubicBezTo>
                    <a:pt x="12262" y="16227"/>
                    <a:pt x="10836" y="17180"/>
                    <a:pt x="9315" y="17846"/>
                  </a:cubicBezTo>
                  <a:cubicBezTo>
                    <a:pt x="7053" y="18675"/>
                    <a:pt x="5000" y="20009"/>
                    <a:pt x="3327" y="21752"/>
                  </a:cubicBezTo>
                  <a:cubicBezTo>
                    <a:pt x="1673" y="24200"/>
                    <a:pt x="780" y="27086"/>
                    <a:pt x="760" y="30038"/>
                  </a:cubicBezTo>
                  <a:cubicBezTo>
                    <a:pt x="0" y="33572"/>
                    <a:pt x="-190" y="37211"/>
                    <a:pt x="190" y="40802"/>
                  </a:cubicBezTo>
                  <a:cubicBezTo>
                    <a:pt x="1521" y="46136"/>
                    <a:pt x="7034" y="45660"/>
                    <a:pt x="9696" y="41945"/>
                  </a:cubicBezTo>
                  <a:cubicBezTo>
                    <a:pt x="11141" y="40088"/>
                    <a:pt x="11968" y="37821"/>
                    <a:pt x="12072" y="35468"/>
                  </a:cubicBezTo>
                  <a:cubicBezTo>
                    <a:pt x="12234" y="30905"/>
                    <a:pt x="14562" y="26686"/>
                    <a:pt x="18346" y="24133"/>
                  </a:cubicBezTo>
                  <a:lnTo>
                    <a:pt x="53706" y="2130"/>
                  </a:lnTo>
                  <a:cubicBezTo>
                    <a:pt x="52870" y="644"/>
                    <a:pt x="51216" y="-184"/>
                    <a:pt x="49524" y="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15"/>
            <p:cNvSpPr/>
            <p:nvPr/>
          </p:nvSpPr>
          <p:spPr>
            <a:xfrm>
              <a:off x="5775008" y="3530248"/>
              <a:ext cx="253611" cy="322722"/>
            </a:xfrm>
            <a:custGeom>
              <a:avLst/>
              <a:gdLst/>
              <a:ahLst/>
              <a:cxnLst/>
              <a:rect l="l" t="t" r="r" b="b"/>
              <a:pathLst>
                <a:path w="253611" h="322722" extrusionOk="0">
                  <a:moveTo>
                    <a:pt x="250673" y="25527"/>
                  </a:moveTo>
                  <a:cubicBezTo>
                    <a:pt x="245826" y="5334"/>
                    <a:pt x="230046" y="11811"/>
                    <a:pt x="216453" y="0"/>
                  </a:cubicBezTo>
                  <a:cubicBezTo>
                    <a:pt x="184990" y="44672"/>
                    <a:pt x="205902" y="165449"/>
                    <a:pt x="210180" y="178308"/>
                  </a:cubicBezTo>
                  <a:lnTo>
                    <a:pt x="89270" y="255556"/>
                  </a:lnTo>
                  <a:lnTo>
                    <a:pt x="89270" y="255556"/>
                  </a:lnTo>
                  <a:lnTo>
                    <a:pt x="81095" y="260604"/>
                  </a:lnTo>
                  <a:cubicBezTo>
                    <a:pt x="67331" y="269662"/>
                    <a:pt x="52131" y="276301"/>
                    <a:pt x="36134" y="280225"/>
                  </a:cubicBezTo>
                  <a:cubicBezTo>
                    <a:pt x="24062" y="281654"/>
                    <a:pt x="17788" y="298704"/>
                    <a:pt x="4860" y="300228"/>
                  </a:cubicBezTo>
                  <a:cubicBezTo>
                    <a:pt x="2075" y="300333"/>
                    <a:pt x="-92" y="302666"/>
                    <a:pt x="3" y="305457"/>
                  </a:cubicBezTo>
                  <a:cubicBezTo>
                    <a:pt x="51" y="306753"/>
                    <a:pt x="602" y="307991"/>
                    <a:pt x="1533" y="308896"/>
                  </a:cubicBezTo>
                  <a:cubicBezTo>
                    <a:pt x="6667" y="313849"/>
                    <a:pt x="20545" y="309753"/>
                    <a:pt x="30050" y="298704"/>
                  </a:cubicBezTo>
                  <a:cubicBezTo>
                    <a:pt x="30002" y="298952"/>
                    <a:pt x="30002" y="299218"/>
                    <a:pt x="30050" y="299466"/>
                  </a:cubicBezTo>
                  <a:cubicBezTo>
                    <a:pt x="30202" y="303057"/>
                    <a:pt x="32227" y="306314"/>
                    <a:pt x="35373" y="308038"/>
                  </a:cubicBezTo>
                  <a:cubicBezTo>
                    <a:pt x="36067" y="308458"/>
                    <a:pt x="36846" y="308724"/>
                    <a:pt x="37655" y="308800"/>
                  </a:cubicBezTo>
                  <a:cubicBezTo>
                    <a:pt x="37655" y="309610"/>
                    <a:pt x="37883" y="310401"/>
                    <a:pt x="38320" y="311087"/>
                  </a:cubicBezTo>
                  <a:cubicBezTo>
                    <a:pt x="39708" y="313925"/>
                    <a:pt x="42417" y="315887"/>
                    <a:pt x="45544" y="316325"/>
                  </a:cubicBezTo>
                  <a:lnTo>
                    <a:pt x="45544" y="316325"/>
                  </a:lnTo>
                  <a:cubicBezTo>
                    <a:pt x="46941" y="320335"/>
                    <a:pt x="50820" y="322945"/>
                    <a:pt x="55050" y="322707"/>
                  </a:cubicBezTo>
                  <a:cubicBezTo>
                    <a:pt x="57825" y="322564"/>
                    <a:pt x="60439" y="321373"/>
                    <a:pt x="62369" y="319373"/>
                  </a:cubicBezTo>
                  <a:cubicBezTo>
                    <a:pt x="72682" y="315430"/>
                    <a:pt x="81789" y="308867"/>
                    <a:pt x="88794" y="300323"/>
                  </a:cubicBezTo>
                  <a:cubicBezTo>
                    <a:pt x="94982" y="293875"/>
                    <a:pt x="101522" y="287769"/>
                    <a:pt x="108375" y="282035"/>
                  </a:cubicBezTo>
                  <a:cubicBezTo>
                    <a:pt x="141170" y="267843"/>
                    <a:pt x="239552" y="225742"/>
                    <a:pt x="243924" y="219742"/>
                  </a:cubicBezTo>
                  <a:cubicBezTo>
                    <a:pt x="250768" y="210693"/>
                    <a:pt x="257707" y="54102"/>
                    <a:pt x="250673" y="2552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15"/>
            <p:cNvSpPr/>
            <p:nvPr/>
          </p:nvSpPr>
          <p:spPr>
            <a:xfrm>
              <a:off x="5965891" y="3514431"/>
              <a:ext cx="72720" cy="103595"/>
            </a:xfrm>
            <a:custGeom>
              <a:avLst/>
              <a:gdLst/>
              <a:ahLst/>
              <a:cxnLst/>
              <a:rect l="l" t="t" r="r" b="b"/>
              <a:pathLst>
                <a:path w="72720" h="103595" extrusionOk="0">
                  <a:moveTo>
                    <a:pt x="70816" y="95541"/>
                  </a:moveTo>
                  <a:cubicBezTo>
                    <a:pt x="70816" y="95541"/>
                    <a:pt x="32129" y="112876"/>
                    <a:pt x="0" y="96684"/>
                  </a:cubicBezTo>
                  <a:lnTo>
                    <a:pt x="4658" y="36009"/>
                  </a:lnTo>
                  <a:cubicBezTo>
                    <a:pt x="4658" y="36009"/>
                    <a:pt x="5133" y="3434"/>
                    <a:pt x="34125" y="195"/>
                  </a:cubicBezTo>
                  <a:cubicBezTo>
                    <a:pt x="63117" y="-3043"/>
                    <a:pt x="78325" y="34200"/>
                    <a:pt x="70816" y="9554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0" name="Google Shape;500;p15"/>
            <p:cNvGrpSpPr/>
            <p:nvPr/>
          </p:nvGrpSpPr>
          <p:grpSpPr>
            <a:xfrm flipH="1">
              <a:off x="2865273" y="3434801"/>
              <a:ext cx="598186" cy="1340314"/>
              <a:chOff x="4210728" y="4525714"/>
              <a:chExt cx="546438" cy="1224366"/>
            </a:xfrm>
          </p:grpSpPr>
          <p:sp>
            <p:nvSpPr>
              <p:cNvPr id="501" name="Google Shape;501;p15"/>
              <p:cNvSpPr/>
              <p:nvPr/>
            </p:nvSpPr>
            <p:spPr>
              <a:xfrm>
                <a:off x="4672107" y="4726590"/>
                <a:ext cx="85002" cy="305847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502;p15"/>
              <p:cNvSpPr/>
              <p:nvPr/>
            </p:nvSpPr>
            <p:spPr>
              <a:xfrm>
                <a:off x="4408366" y="5679962"/>
                <a:ext cx="123900" cy="70118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503;p15"/>
              <p:cNvSpPr/>
              <p:nvPr/>
            </p:nvSpPr>
            <p:spPr>
              <a:xfrm>
                <a:off x="4408245" y="5691663"/>
                <a:ext cx="121939" cy="58416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15"/>
              <p:cNvSpPr/>
              <p:nvPr/>
            </p:nvSpPr>
            <p:spPr>
              <a:xfrm>
                <a:off x="4566152" y="5600798"/>
                <a:ext cx="119416" cy="67472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505;p15"/>
              <p:cNvSpPr/>
              <p:nvPr/>
            </p:nvSpPr>
            <p:spPr>
              <a:xfrm>
                <a:off x="4566197" y="5611939"/>
                <a:ext cx="117340" cy="56332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5"/>
              <p:cNvSpPr/>
              <p:nvPr/>
            </p:nvSpPr>
            <p:spPr>
              <a:xfrm>
                <a:off x="4483409" y="4968525"/>
                <a:ext cx="238054" cy="732926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15"/>
              <p:cNvSpPr/>
              <p:nvPr/>
            </p:nvSpPr>
            <p:spPr>
              <a:xfrm>
                <a:off x="4484426" y="4968525"/>
                <a:ext cx="236925" cy="409866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15"/>
              <p:cNvSpPr/>
              <p:nvPr/>
            </p:nvSpPr>
            <p:spPr>
              <a:xfrm>
                <a:off x="4531702" y="4525767"/>
                <a:ext cx="160521" cy="258577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15"/>
              <p:cNvSpPr/>
              <p:nvPr/>
            </p:nvSpPr>
            <p:spPr>
              <a:xfrm>
                <a:off x="4695825" y="4756088"/>
                <a:ext cx="61341" cy="108805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15"/>
              <p:cNvSpPr/>
              <p:nvPr/>
            </p:nvSpPr>
            <p:spPr>
              <a:xfrm>
                <a:off x="4523612" y="4724507"/>
                <a:ext cx="191546" cy="273865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15"/>
              <p:cNvSpPr/>
              <p:nvPr/>
            </p:nvSpPr>
            <p:spPr>
              <a:xfrm>
                <a:off x="4210728" y="4780936"/>
                <a:ext cx="368747" cy="265455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15"/>
              <p:cNvSpPr/>
              <p:nvPr/>
            </p:nvSpPr>
            <p:spPr>
              <a:xfrm>
                <a:off x="4484370" y="4765472"/>
                <a:ext cx="100785" cy="104755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15"/>
              <p:cNvSpPr/>
              <p:nvPr/>
            </p:nvSpPr>
            <p:spPr>
              <a:xfrm>
                <a:off x="4524935" y="4525714"/>
                <a:ext cx="201012" cy="328692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532639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1" name="Google Shape;741;p18"/>
          <p:cNvSpPr txBox="1">
            <a:spLocks noGrp="1"/>
          </p:cNvSpPr>
          <p:nvPr>
            <p:ph type="ctrTitle" idx="4294967295"/>
          </p:nvPr>
        </p:nvSpPr>
        <p:spPr>
          <a:xfrm>
            <a:off x="685800" y="1570050"/>
            <a:ext cx="5566508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6000" dirty="0">
                <a:solidFill>
                  <a:schemeClr val="accent1"/>
                </a:solidFill>
              </a:rPr>
              <a:t>App Launching</a:t>
            </a:r>
            <a:endParaRPr sz="6000" dirty="0">
              <a:solidFill>
                <a:schemeClr val="accent1"/>
              </a:solidFill>
            </a:endParaRPr>
          </a:p>
        </p:txBody>
      </p:sp>
      <p:sp>
        <p:nvSpPr>
          <p:cNvPr id="743" name="Google Shape;743;p1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5</a:t>
            </a:fld>
            <a:endParaRPr/>
          </a:p>
        </p:txBody>
      </p:sp>
      <p:sp>
        <p:nvSpPr>
          <p:cNvPr id="114" name="Subtitle 2">
            <a:extLst>
              <a:ext uri="{FF2B5EF4-FFF2-40B4-BE49-F238E27FC236}">
                <a16:creationId xmlns:a16="http://schemas.microsoft.com/office/drawing/2014/main" id="{3936837B-25F6-4EC5-A396-340ACF791FCD}"/>
              </a:ext>
            </a:extLst>
          </p:cNvPr>
          <p:cNvSpPr txBox="1">
            <a:spLocks/>
          </p:cNvSpPr>
          <p:nvPr/>
        </p:nvSpPr>
        <p:spPr>
          <a:xfrm>
            <a:off x="601296" y="2873511"/>
            <a:ext cx="6737350" cy="38370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CA" sz="1600">
                <a:hlinkClick r:id="rId3"/>
              </a:rPr>
              <a:t>Data Job Dashboard (datajobapp.herokuapp.com)</a:t>
            </a:r>
            <a:endParaRPr lang="en-CA" sz="1600" dirty="0"/>
          </a:p>
        </p:txBody>
      </p:sp>
    </p:spTree>
    <p:extLst>
      <p:ext uri="{BB962C8B-B14F-4D97-AF65-F5344CB8AC3E}">
        <p14:creationId xmlns:p14="http://schemas.microsoft.com/office/powerpoint/2010/main" val="8473128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 of Insight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nswers to our questions.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5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408" name="Google Shape;408;p15"/>
          <p:cNvGrpSpPr/>
          <p:nvPr/>
        </p:nvGrpSpPr>
        <p:grpSpPr>
          <a:xfrm>
            <a:off x="5435079" y="912423"/>
            <a:ext cx="3239723" cy="3318665"/>
            <a:chOff x="2270525" y="117216"/>
            <a:chExt cx="4650765" cy="4762722"/>
          </a:xfrm>
        </p:grpSpPr>
        <p:sp>
          <p:nvSpPr>
            <p:cNvPr id="409" name="Google Shape;409;p15"/>
            <p:cNvSpPr/>
            <p:nvPr/>
          </p:nvSpPr>
          <p:spPr>
            <a:xfrm>
              <a:off x="2270525" y="2788917"/>
              <a:ext cx="1367464" cy="791146"/>
            </a:xfrm>
            <a:custGeom>
              <a:avLst/>
              <a:gdLst/>
              <a:ahLst/>
              <a:cxnLst/>
              <a:rect l="l" t="t" r="r" b="b"/>
              <a:pathLst>
                <a:path w="1367464" h="791146" extrusionOk="0">
                  <a:moveTo>
                    <a:pt x="1367464" y="395573"/>
                  </a:moveTo>
                  <a:cubicBezTo>
                    <a:pt x="1367464" y="614042"/>
                    <a:pt x="1061347" y="791146"/>
                    <a:pt x="683732" y="791146"/>
                  </a:cubicBezTo>
                  <a:cubicBezTo>
                    <a:pt x="306117" y="791146"/>
                    <a:pt x="0" y="614042"/>
                    <a:pt x="0" y="395573"/>
                  </a:cubicBezTo>
                  <a:cubicBezTo>
                    <a:pt x="0" y="177104"/>
                    <a:pt x="306117" y="0"/>
                    <a:pt x="683732" y="0"/>
                  </a:cubicBezTo>
                  <a:cubicBezTo>
                    <a:pt x="1061347" y="0"/>
                    <a:pt x="1367464" y="177104"/>
                    <a:pt x="1367464" y="395573"/>
                  </a:cubicBezTo>
                  <a:close/>
                </a:path>
              </a:pathLst>
            </a:custGeom>
            <a:solidFill>
              <a:srgbClr val="D6D8E5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15"/>
            <p:cNvSpPr/>
            <p:nvPr/>
          </p:nvSpPr>
          <p:spPr>
            <a:xfrm>
              <a:off x="2565006" y="2921600"/>
              <a:ext cx="762723" cy="441198"/>
            </a:xfrm>
            <a:custGeom>
              <a:avLst/>
              <a:gdLst/>
              <a:ahLst/>
              <a:cxnLst/>
              <a:rect l="l" t="t" r="r" b="b"/>
              <a:pathLst>
                <a:path w="762723" h="441198" extrusionOk="0">
                  <a:moveTo>
                    <a:pt x="762723" y="220599"/>
                  </a:moveTo>
                  <a:cubicBezTo>
                    <a:pt x="762723" y="342432"/>
                    <a:pt x="591982" y="441198"/>
                    <a:pt x="381362" y="441198"/>
                  </a:cubicBezTo>
                  <a:cubicBezTo>
                    <a:pt x="170741" y="441198"/>
                    <a:pt x="0" y="342432"/>
                    <a:pt x="0" y="220599"/>
                  </a:cubicBezTo>
                  <a:cubicBezTo>
                    <a:pt x="0" y="98765"/>
                    <a:pt x="170741" y="0"/>
                    <a:pt x="381362" y="0"/>
                  </a:cubicBezTo>
                  <a:cubicBezTo>
                    <a:pt x="591982" y="0"/>
                    <a:pt x="762723" y="98765"/>
                    <a:pt x="762723" y="220599"/>
                  </a:cubicBezTo>
                  <a:close/>
                </a:path>
              </a:pathLst>
            </a:custGeom>
            <a:solidFill>
              <a:srgbClr val="EDEFF9">
                <a:alpha val="4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15"/>
            <p:cNvSpPr/>
            <p:nvPr/>
          </p:nvSpPr>
          <p:spPr>
            <a:xfrm>
              <a:off x="2834012" y="3000943"/>
              <a:ext cx="217486" cy="125920"/>
            </a:xfrm>
            <a:custGeom>
              <a:avLst/>
              <a:gdLst/>
              <a:ahLst/>
              <a:cxnLst/>
              <a:rect l="l" t="t" r="r" b="b"/>
              <a:pathLst>
                <a:path w="217486" h="125920" extrusionOk="0">
                  <a:moveTo>
                    <a:pt x="217486" y="62960"/>
                  </a:moveTo>
                  <a:cubicBezTo>
                    <a:pt x="217486" y="97732"/>
                    <a:pt x="168800" y="125920"/>
                    <a:pt x="108743" y="125920"/>
                  </a:cubicBezTo>
                  <a:cubicBezTo>
                    <a:pt x="48686" y="125920"/>
                    <a:pt x="0" y="97732"/>
                    <a:pt x="0" y="62960"/>
                  </a:cubicBezTo>
                  <a:cubicBezTo>
                    <a:pt x="0" y="28188"/>
                    <a:pt x="48686" y="0"/>
                    <a:pt x="108743" y="0"/>
                  </a:cubicBezTo>
                  <a:cubicBezTo>
                    <a:pt x="168800" y="0"/>
                    <a:pt x="217486" y="28188"/>
                    <a:pt x="217486" y="62960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15"/>
            <p:cNvSpPr/>
            <p:nvPr/>
          </p:nvSpPr>
          <p:spPr>
            <a:xfrm>
              <a:off x="2841806" y="2229228"/>
              <a:ext cx="209121" cy="823531"/>
            </a:xfrm>
            <a:custGeom>
              <a:avLst/>
              <a:gdLst/>
              <a:ahLst/>
              <a:cxnLst/>
              <a:rect l="l" t="t" r="r" b="b"/>
              <a:pathLst>
                <a:path w="209121" h="823531" extrusionOk="0">
                  <a:moveTo>
                    <a:pt x="0" y="0"/>
                  </a:moveTo>
                  <a:lnTo>
                    <a:pt x="209121" y="0"/>
                  </a:lnTo>
                  <a:lnTo>
                    <a:pt x="209121" y="823532"/>
                  </a:lnTo>
                  <a:lnTo>
                    <a:pt x="0" y="823532"/>
                  </a:ln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15"/>
            <p:cNvSpPr/>
            <p:nvPr/>
          </p:nvSpPr>
          <p:spPr>
            <a:xfrm>
              <a:off x="2831826" y="2112223"/>
              <a:ext cx="249895" cy="580777"/>
            </a:xfrm>
            <a:custGeom>
              <a:avLst/>
              <a:gdLst/>
              <a:ahLst/>
              <a:cxnLst/>
              <a:rect l="l" t="t" r="r" b="b"/>
              <a:pathLst>
                <a:path w="249895" h="580777" extrusionOk="0">
                  <a:moveTo>
                    <a:pt x="0" y="107670"/>
                  </a:moveTo>
                  <a:cubicBezTo>
                    <a:pt x="0" y="107670"/>
                    <a:pt x="5703" y="277025"/>
                    <a:pt x="125948" y="580777"/>
                  </a:cubicBezTo>
                  <a:cubicBezTo>
                    <a:pt x="125948" y="580777"/>
                    <a:pt x="237923" y="336175"/>
                    <a:pt x="249520" y="102527"/>
                  </a:cubicBezTo>
                  <a:cubicBezTo>
                    <a:pt x="261117" y="-131122"/>
                    <a:pt x="0" y="107670"/>
                    <a:pt x="0" y="107670"/>
                  </a:cubicBez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15"/>
            <p:cNvSpPr/>
            <p:nvPr/>
          </p:nvSpPr>
          <p:spPr>
            <a:xfrm>
              <a:off x="2373659" y="1582290"/>
              <a:ext cx="397711" cy="625506"/>
            </a:xfrm>
            <a:custGeom>
              <a:avLst/>
              <a:gdLst/>
              <a:ahLst/>
              <a:cxnLst/>
              <a:rect l="l" t="t" r="r" b="b"/>
              <a:pathLst>
                <a:path w="397711" h="625506" extrusionOk="0">
                  <a:moveTo>
                    <a:pt x="311306" y="0"/>
                  </a:moveTo>
                  <a:lnTo>
                    <a:pt x="33079" y="271272"/>
                  </a:lnTo>
                  <a:lnTo>
                    <a:pt x="0" y="625507"/>
                  </a:lnTo>
                  <a:lnTo>
                    <a:pt x="336495" y="456438"/>
                  </a:lnTo>
                  <a:lnTo>
                    <a:pt x="397711" y="24384"/>
                  </a:lnTo>
                  <a:lnTo>
                    <a:pt x="3113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15"/>
            <p:cNvSpPr/>
            <p:nvPr/>
          </p:nvSpPr>
          <p:spPr>
            <a:xfrm>
              <a:off x="3144177" y="1582290"/>
              <a:ext cx="397710" cy="625506"/>
            </a:xfrm>
            <a:custGeom>
              <a:avLst/>
              <a:gdLst/>
              <a:ahLst/>
              <a:cxnLst/>
              <a:rect l="l" t="t" r="r" b="b"/>
              <a:pathLst>
                <a:path w="397710" h="625506" extrusionOk="0">
                  <a:moveTo>
                    <a:pt x="86405" y="0"/>
                  </a:moveTo>
                  <a:lnTo>
                    <a:pt x="364537" y="271272"/>
                  </a:lnTo>
                  <a:lnTo>
                    <a:pt x="397711" y="625507"/>
                  </a:lnTo>
                  <a:lnTo>
                    <a:pt x="59980" y="444722"/>
                  </a:lnTo>
                  <a:lnTo>
                    <a:pt x="0" y="24384"/>
                  </a:lnTo>
                  <a:lnTo>
                    <a:pt x="8640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" name="Google Shape;416;p15"/>
            <p:cNvSpPr/>
            <p:nvPr/>
          </p:nvSpPr>
          <p:spPr>
            <a:xfrm>
              <a:off x="2815951" y="2102641"/>
              <a:ext cx="276610" cy="160020"/>
            </a:xfrm>
            <a:custGeom>
              <a:avLst/>
              <a:gdLst/>
              <a:ahLst/>
              <a:cxnLst/>
              <a:rect l="l" t="t" r="r" b="b"/>
              <a:pathLst>
                <a:path w="276610" h="160020" extrusionOk="0">
                  <a:moveTo>
                    <a:pt x="276611" y="80010"/>
                  </a:moveTo>
                  <a:cubicBezTo>
                    <a:pt x="276611" y="124198"/>
                    <a:pt x="214689" y="160020"/>
                    <a:pt x="138305" y="160020"/>
                  </a:cubicBezTo>
                  <a:cubicBezTo>
                    <a:pt x="61921" y="160020"/>
                    <a:pt x="0" y="124198"/>
                    <a:pt x="0" y="80010"/>
                  </a:cubicBezTo>
                  <a:cubicBezTo>
                    <a:pt x="0" y="35822"/>
                    <a:pt x="61921" y="0"/>
                    <a:pt x="138305" y="0"/>
                  </a:cubicBezTo>
                  <a:cubicBezTo>
                    <a:pt x="214689" y="0"/>
                    <a:pt x="276611" y="35822"/>
                    <a:pt x="276611" y="80010"/>
                  </a:cubicBezTo>
                  <a:close/>
                </a:path>
              </a:pathLst>
            </a:custGeom>
            <a:solidFill>
              <a:srgbClr val="42495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7" name="Google Shape;417;p15"/>
            <p:cNvSpPr/>
            <p:nvPr/>
          </p:nvSpPr>
          <p:spPr>
            <a:xfrm>
              <a:off x="2744565" y="2030632"/>
              <a:ext cx="418908" cy="74675"/>
            </a:xfrm>
            <a:custGeom>
              <a:avLst/>
              <a:gdLst/>
              <a:ahLst/>
              <a:cxnLst/>
              <a:rect l="l" t="t" r="r" b="b"/>
              <a:pathLst>
                <a:path w="418908" h="74675" extrusionOk="0">
                  <a:moveTo>
                    <a:pt x="0" y="72009"/>
                  </a:moveTo>
                  <a:lnTo>
                    <a:pt x="0" y="0"/>
                  </a:lnTo>
                  <a:lnTo>
                    <a:pt x="418908" y="0"/>
                  </a:lnTo>
                  <a:lnTo>
                    <a:pt x="418908" y="74676"/>
                  </a:lnTo>
                  <a:lnTo>
                    <a:pt x="0" y="72009"/>
                  </a:lnTo>
                  <a:close/>
                </a:path>
              </a:pathLst>
            </a:custGeom>
            <a:solidFill>
              <a:srgbClr val="4949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15"/>
            <p:cNvSpPr/>
            <p:nvPr/>
          </p:nvSpPr>
          <p:spPr>
            <a:xfrm>
              <a:off x="2744565" y="1981197"/>
              <a:ext cx="419383" cy="242697"/>
            </a:xfrm>
            <a:custGeom>
              <a:avLst/>
              <a:gdLst/>
              <a:ahLst/>
              <a:cxnLst/>
              <a:rect l="l" t="t" r="r" b="b"/>
              <a:pathLst>
                <a:path w="419383" h="242697" extrusionOk="0">
                  <a:moveTo>
                    <a:pt x="419384" y="121348"/>
                  </a:moveTo>
                  <a:cubicBezTo>
                    <a:pt x="419384" y="188367"/>
                    <a:pt x="325501" y="242697"/>
                    <a:pt x="209692" y="242697"/>
                  </a:cubicBezTo>
                  <a:cubicBezTo>
                    <a:pt x="93882" y="242697"/>
                    <a:pt x="0" y="188367"/>
                    <a:pt x="0" y="121348"/>
                  </a:cubicBezTo>
                  <a:cubicBezTo>
                    <a:pt x="0" y="54330"/>
                    <a:pt x="93882" y="0"/>
                    <a:pt x="209692" y="0"/>
                  </a:cubicBezTo>
                  <a:cubicBezTo>
                    <a:pt x="325501" y="0"/>
                    <a:pt x="419384" y="54329"/>
                    <a:pt x="419384" y="12134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5"/>
            <p:cNvSpPr/>
            <p:nvPr/>
          </p:nvSpPr>
          <p:spPr>
            <a:xfrm>
              <a:off x="2697703" y="1845275"/>
              <a:ext cx="511777" cy="296036"/>
            </a:xfrm>
            <a:custGeom>
              <a:avLst/>
              <a:gdLst/>
              <a:ahLst/>
              <a:cxnLst/>
              <a:rect l="l" t="t" r="r" b="b"/>
              <a:pathLst>
                <a:path w="511777" h="296036" extrusionOk="0">
                  <a:moveTo>
                    <a:pt x="511777" y="148019"/>
                  </a:moveTo>
                  <a:cubicBezTo>
                    <a:pt x="511777" y="229767"/>
                    <a:pt x="397212" y="296037"/>
                    <a:pt x="255889" y="296037"/>
                  </a:cubicBezTo>
                  <a:cubicBezTo>
                    <a:pt x="114565" y="296037"/>
                    <a:pt x="0" y="229767"/>
                    <a:pt x="0" y="148019"/>
                  </a:cubicBezTo>
                  <a:cubicBezTo>
                    <a:pt x="0" y="66270"/>
                    <a:pt x="114565" y="0"/>
                    <a:pt x="255889" y="0"/>
                  </a:cubicBezTo>
                  <a:cubicBezTo>
                    <a:pt x="397212" y="0"/>
                    <a:pt x="511777" y="66270"/>
                    <a:pt x="511777" y="148019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" name="Google Shape;420;p15"/>
            <p:cNvSpPr/>
            <p:nvPr/>
          </p:nvSpPr>
          <p:spPr>
            <a:xfrm>
              <a:off x="2681484" y="530635"/>
              <a:ext cx="548516" cy="1538895"/>
            </a:xfrm>
            <a:custGeom>
              <a:avLst/>
              <a:gdLst/>
              <a:ahLst/>
              <a:cxnLst/>
              <a:rect l="l" t="t" r="r" b="b"/>
              <a:pathLst>
                <a:path w="548516" h="1538895" extrusionOk="0">
                  <a:moveTo>
                    <a:pt x="548433" y="1199007"/>
                  </a:moveTo>
                  <a:lnTo>
                    <a:pt x="548433" y="1199007"/>
                  </a:lnTo>
                  <a:cubicBezTo>
                    <a:pt x="548433" y="1210913"/>
                    <a:pt x="548433" y="1222629"/>
                    <a:pt x="548433" y="1233964"/>
                  </a:cubicBezTo>
                  <a:cubicBezTo>
                    <a:pt x="548433" y="1243489"/>
                    <a:pt x="548433" y="1253014"/>
                    <a:pt x="548433" y="1262539"/>
                  </a:cubicBezTo>
                  <a:cubicBezTo>
                    <a:pt x="548433" y="1275398"/>
                    <a:pt x="547767" y="1287685"/>
                    <a:pt x="547292" y="1299686"/>
                  </a:cubicBezTo>
                  <a:cubicBezTo>
                    <a:pt x="547292" y="1314641"/>
                    <a:pt x="546246" y="1328833"/>
                    <a:pt x="545486" y="1342454"/>
                  </a:cubicBezTo>
                  <a:cubicBezTo>
                    <a:pt x="544725" y="1356074"/>
                    <a:pt x="544060" y="1369409"/>
                    <a:pt x="543109" y="1381697"/>
                  </a:cubicBezTo>
                  <a:cubicBezTo>
                    <a:pt x="539212" y="1435513"/>
                    <a:pt x="539307" y="1475137"/>
                    <a:pt x="532653" y="1490662"/>
                  </a:cubicBezTo>
                  <a:cubicBezTo>
                    <a:pt x="496437" y="1575530"/>
                    <a:pt x="373911" y="1528762"/>
                    <a:pt x="313456" y="1498283"/>
                  </a:cubicBezTo>
                  <a:cubicBezTo>
                    <a:pt x="291118" y="1487043"/>
                    <a:pt x="276384" y="1477804"/>
                    <a:pt x="276384" y="1477804"/>
                  </a:cubicBezTo>
                  <a:lnTo>
                    <a:pt x="270871" y="1477804"/>
                  </a:lnTo>
                  <a:cubicBezTo>
                    <a:pt x="270871" y="1477804"/>
                    <a:pt x="253381" y="1487329"/>
                    <a:pt x="227526" y="1497616"/>
                  </a:cubicBezTo>
                  <a:cubicBezTo>
                    <a:pt x="164124" y="1523333"/>
                    <a:pt x="51104" y="1568958"/>
                    <a:pt x="19735" y="1490377"/>
                  </a:cubicBezTo>
                  <a:cubicBezTo>
                    <a:pt x="14127" y="1476280"/>
                    <a:pt x="8519" y="1429703"/>
                    <a:pt x="5097" y="1380935"/>
                  </a:cubicBezTo>
                  <a:cubicBezTo>
                    <a:pt x="4241" y="1368743"/>
                    <a:pt x="3481" y="1355693"/>
                    <a:pt x="2721" y="1341787"/>
                  </a:cubicBezTo>
                  <a:cubicBezTo>
                    <a:pt x="1960" y="1327880"/>
                    <a:pt x="1580" y="1314069"/>
                    <a:pt x="1010" y="1299115"/>
                  </a:cubicBezTo>
                  <a:cubicBezTo>
                    <a:pt x="1010" y="1287208"/>
                    <a:pt x="344" y="1274921"/>
                    <a:pt x="59" y="1262158"/>
                  </a:cubicBezTo>
                  <a:cubicBezTo>
                    <a:pt x="59" y="1252633"/>
                    <a:pt x="59" y="1243108"/>
                    <a:pt x="59" y="1233583"/>
                  </a:cubicBezTo>
                  <a:lnTo>
                    <a:pt x="59" y="1233583"/>
                  </a:lnTo>
                  <a:lnTo>
                    <a:pt x="59" y="1198626"/>
                  </a:lnTo>
                  <a:lnTo>
                    <a:pt x="59" y="1198626"/>
                  </a:lnTo>
                  <a:cubicBezTo>
                    <a:pt x="-1652" y="866299"/>
                    <a:pt x="33518" y="334899"/>
                    <a:pt x="149676" y="108109"/>
                  </a:cubicBezTo>
                  <a:cubicBezTo>
                    <a:pt x="183230" y="42481"/>
                    <a:pt x="223534" y="2381"/>
                    <a:pt x="271727" y="0"/>
                  </a:cubicBezTo>
                  <a:lnTo>
                    <a:pt x="271727" y="0"/>
                  </a:lnTo>
                  <a:lnTo>
                    <a:pt x="277240" y="0"/>
                  </a:lnTo>
                  <a:lnTo>
                    <a:pt x="277240" y="0"/>
                  </a:lnTo>
                  <a:cubicBezTo>
                    <a:pt x="324768" y="2476"/>
                    <a:pt x="365546" y="42386"/>
                    <a:pt x="399196" y="107728"/>
                  </a:cubicBezTo>
                  <a:cubicBezTo>
                    <a:pt x="513737" y="333661"/>
                    <a:pt x="550524" y="862965"/>
                    <a:pt x="548433" y="1199007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15"/>
            <p:cNvSpPr/>
            <p:nvPr/>
          </p:nvSpPr>
          <p:spPr>
            <a:xfrm>
              <a:off x="2858251" y="1222531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9"/>
                    <a:pt x="96671" y="193739"/>
                  </a:cubicBezTo>
                  <a:cubicBezTo>
                    <a:pt x="43281" y="193739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5"/>
            <p:cNvSpPr/>
            <p:nvPr/>
          </p:nvSpPr>
          <p:spPr>
            <a:xfrm>
              <a:off x="2844088" y="1208338"/>
              <a:ext cx="221668" cy="222122"/>
            </a:xfrm>
            <a:custGeom>
              <a:avLst/>
              <a:gdLst/>
              <a:ahLst/>
              <a:cxnLst/>
              <a:rect l="l" t="t" r="r" b="b"/>
              <a:pathLst>
                <a:path w="221668" h="222122" extrusionOk="0">
                  <a:moveTo>
                    <a:pt x="110834" y="222123"/>
                  </a:moveTo>
                  <a:cubicBezTo>
                    <a:pt x="49623" y="222123"/>
                    <a:pt x="0" y="172402"/>
                    <a:pt x="0" y="111061"/>
                  </a:cubicBezTo>
                  <a:cubicBezTo>
                    <a:pt x="0" y="49720"/>
                    <a:pt x="49623" y="0"/>
                    <a:pt x="110834" y="0"/>
                  </a:cubicBezTo>
                  <a:cubicBezTo>
                    <a:pt x="172046" y="0"/>
                    <a:pt x="221669" y="49720"/>
                    <a:pt x="221669" y="111061"/>
                  </a:cubicBezTo>
                  <a:cubicBezTo>
                    <a:pt x="221617" y="172374"/>
                    <a:pt x="172025" y="222066"/>
                    <a:pt x="110834" y="222123"/>
                  </a:cubicBezTo>
                  <a:close/>
                  <a:moveTo>
                    <a:pt x="110834" y="28384"/>
                  </a:moveTo>
                  <a:cubicBezTo>
                    <a:pt x="65267" y="28327"/>
                    <a:pt x="28284" y="65303"/>
                    <a:pt x="28231" y="110966"/>
                  </a:cubicBezTo>
                  <a:cubicBezTo>
                    <a:pt x="28179" y="156629"/>
                    <a:pt x="65077" y="193681"/>
                    <a:pt x="110644" y="193738"/>
                  </a:cubicBezTo>
                  <a:cubicBezTo>
                    <a:pt x="156212" y="193796"/>
                    <a:pt x="193195" y="156820"/>
                    <a:pt x="193247" y="111157"/>
                  </a:cubicBezTo>
                  <a:cubicBezTo>
                    <a:pt x="193247" y="111128"/>
                    <a:pt x="193247" y="111090"/>
                    <a:pt x="193247" y="111061"/>
                  </a:cubicBezTo>
                  <a:cubicBezTo>
                    <a:pt x="193195" y="65456"/>
                    <a:pt x="156343" y="28489"/>
                    <a:pt x="110834" y="28384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15"/>
            <p:cNvSpPr/>
            <p:nvPr/>
          </p:nvSpPr>
          <p:spPr>
            <a:xfrm>
              <a:off x="2858251" y="937733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8"/>
                    <a:pt x="96671" y="193738"/>
                  </a:cubicBezTo>
                  <a:cubicBezTo>
                    <a:pt x="43281" y="193738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Google Shape;424;p15"/>
            <p:cNvSpPr/>
            <p:nvPr/>
          </p:nvSpPr>
          <p:spPr>
            <a:xfrm>
              <a:off x="2843898" y="923636"/>
              <a:ext cx="221858" cy="222313"/>
            </a:xfrm>
            <a:custGeom>
              <a:avLst/>
              <a:gdLst/>
              <a:ahLst/>
              <a:cxnLst/>
              <a:rect l="l" t="t" r="r" b="b"/>
              <a:pathLst>
                <a:path w="221858" h="222313" extrusionOk="0">
                  <a:moveTo>
                    <a:pt x="111025" y="222314"/>
                  </a:moveTo>
                  <a:cubicBezTo>
                    <a:pt x="49760" y="222371"/>
                    <a:pt x="52" y="172641"/>
                    <a:pt x="0" y="111252"/>
                  </a:cubicBezTo>
                  <a:cubicBezTo>
                    <a:pt x="-52" y="49861"/>
                    <a:pt x="49570" y="52"/>
                    <a:pt x="110834" y="0"/>
                  </a:cubicBezTo>
                  <a:cubicBezTo>
                    <a:pt x="172062" y="-52"/>
                    <a:pt x="221754" y="49614"/>
                    <a:pt x="221859" y="110966"/>
                  </a:cubicBezTo>
                  <a:cubicBezTo>
                    <a:pt x="221911" y="172374"/>
                    <a:pt x="172305" y="222209"/>
                    <a:pt x="111025" y="222314"/>
                  </a:cubicBezTo>
                  <a:close/>
                  <a:moveTo>
                    <a:pt x="111025" y="28575"/>
                  </a:moveTo>
                  <a:cubicBezTo>
                    <a:pt x="65457" y="28523"/>
                    <a:pt x="28474" y="65496"/>
                    <a:pt x="28422" y="111157"/>
                  </a:cubicBezTo>
                  <a:cubicBezTo>
                    <a:pt x="28369" y="156820"/>
                    <a:pt x="65267" y="193872"/>
                    <a:pt x="110834" y="193929"/>
                  </a:cubicBezTo>
                  <a:cubicBezTo>
                    <a:pt x="156402" y="193986"/>
                    <a:pt x="193385" y="157010"/>
                    <a:pt x="193437" y="111347"/>
                  </a:cubicBezTo>
                  <a:cubicBezTo>
                    <a:pt x="193437" y="111283"/>
                    <a:pt x="193437" y="111221"/>
                    <a:pt x="193437" y="111157"/>
                  </a:cubicBezTo>
                  <a:cubicBezTo>
                    <a:pt x="193490" y="65496"/>
                    <a:pt x="156592" y="28437"/>
                    <a:pt x="111025" y="28385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5"/>
            <p:cNvSpPr/>
            <p:nvPr/>
          </p:nvSpPr>
          <p:spPr>
            <a:xfrm>
              <a:off x="2680593" y="1921189"/>
              <a:ext cx="549324" cy="167997"/>
            </a:xfrm>
            <a:custGeom>
              <a:avLst/>
              <a:gdLst/>
              <a:ahLst/>
              <a:cxnLst/>
              <a:rect l="l" t="t" r="r" b="b"/>
              <a:pathLst>
                <a:path w="549324" h="167997" extrusionOk="0">
                  <a:moveTo>
                    <a:pt x="549324" y="0"/>
                  </a:moveTo>
                  <a:cubicBezTo>
                    <a:pt x="549324" y="11906"/>
                    <a:pt x="549324" y="23622"/>
                    <a:pt x="549324" y="35052"/>
                  </a:cubicBezTo>
                  <a:cubicBezTo>
                    <a:pt x="539819" y="66484"/>
                    <a:pt x="513964" y="96583"/>
                    <a:pt x="471949" y="120777"/>
                  </a:cubicBezTo>
                  <a:cubicBezTo>
                    <a:pt x="363016" y="183737"/>
                    <a:pt x="186784" y="183737"/>
                    <a:pt x="77375" y="120777"/>
                  </a:cubicBezTo>
                  <a:cubicBezTo>
                    <a:pt x="35361" y="96393"/>
                    <a:pt x="9601" y="66199"/>
                    <a:pt x="0" y="35052"/>
                  </a:cubicBezTo>
                  <a:lnTo>
                    <a:pt x="0" y="35052"/>
                  </a:lnTo>
                  <a:lnTo>
                    <a:pt x="0" y="95"/>
                  </a:lnTo>
                  <a:cubicBezTo>
                    <a:pt x="9506" y="32099"/>
                    <a:pt x="35170" y="62579"/>
                    <a:pt x="77755" y="87249"/>
                  </a:cubicBezTo>
                  <a:cubicBezTo>
                    <a:pt x="186784" y="150209"/>
                    <a:pt x="363396" y="150209"/>
                    <a:pt x="472329" y="87249"/>
                  </a:cubicBezTo>
                  <a:cubicBezTo>
                    <a:pt x="514059" y="62293"/>
                    <a:pt x="540484" y="31909"/>
                    <a:pt x="5493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15"/>
            <p:cNvSpPr/>
            <p:nvPr/>
          </p:nvSpPr>
          <p:spPr>
            <a:xfrm>
              <a:off x="2680308" y="1976244"/>
              <a:ext cx="548753" cy="165782"/>
            </a:xfrm>
            <a:custGeom>
              <a:avLst/>
              <a:gdLst/>
              <a:ahLst/>
              <a:cxnLst/>
              <a:rect l="l" t="t" r="r" b="b"/>
              <a:pathLst>
                <a:path w="548753" h="165782" extrusionOk="0">
                  <a:moveTo>
                    <a:pt x="548754" y="381"/>
                  </a:moveTo>
                  <a:cubicBezTo>
                    <a:pt x="548754" y="13145"/>
                    <a:pt x="548088" y="25527"/>
                    <a:pt x="547613" y="37433"/>
                  </a:cubicBezTo>
                  <a:cubicBezTo>
                    <a:pt x="536967" y="67151"/>
                    <a:pt x="511682" y="95441"/>
                    <a:pt x="471569" y="118491"/>
                  </a:cubicBezTo>
                  <a:cubicBezTo>
                    <a:pt x="362636" y="181546"/>
                    <a:pt x="186403" y="181546"/>
                    <a:pt x="76995" y="118491"/>
                  </a:cubicBezTo>
                  <a:cubicBezTo>
                    <a:pt x="36976" y="95250"/>
                    <a:pt x="11692" y="66770"/>
                    <a:pt x="951" y="36862"/>
                  </a:cubicBezTo>
                  <a:cubicBezTo>
                    <a:pt x="951" y="24955"/>
                    <a:pt x="285" y="12668"/>
                    <a:pt x="0" y="0"/>
                  </a:cubicBezTo>
                  <a:cubicBezTo>
                    <a:pt x="9506" y="31051"/>
                    <a:pt x="35456" y="60579"/>
                    <a:pt x="76900" y="84582"/>
                  </a:cubicBezTo>
                  <a:cubicBezTo>
                    <a:pt x="185928" y="147638"/>
                    <a:pt x="362541" y="147638"/>
                    <a:pt x="471474" y="84582"/>
                  </a:cubicBezTo>
                  <a:cubicBezTo>
                    <a:pt x="513108" y="60674"/>
                    <a:pt x="538773" y="31242"/>
                    <a:pt x="548754" y="3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15"/>
            <p:cNvSpPr/>
            <p:nvPr/>
          </p:nvSpPr>
          <p:spPr>
            <a:xfrm>
              <a:off x="2683349" y="1877470"/>
              <a:ext cx="542765" cy="158087"/>
            </a:xfrm>
            <a:custGeom>
              <a:avLst/>
              <a:gdLst/>
              <a:ahLst/>
              <a:cxnLst/>
              <a:rect l="l" t="t" r="r" b="b"/>
              <a:pathLst>
                <a:path w="542765" h="158087" extrusionOk="0">
                  <a:moveTo>
                    <a:pt x="542765" y="762"/>
                  </a:moveTo>
                  <a:cubicBezTo>
                    <a:pt x="531264" y="28670"/>
                    <a:pt x="506549" y="55245"/>
                    <a:pt x="468812" y="76962"/>
                  </a:cubicBezTo>
                  <a:cubicBezTo>
                    <a:pt x="359879" y="139922"/>
                    <a:pt x="183647" y="139922"/>
                    <a:pt x="74238" y="76962"/>
                  </a:cubicBezTo>
                  <a:cubicBezTo>
                    <a:pt x="36216" y="54864"/>
                    <a:pt x="11502" y="28194"/>
                    <a:pt x="0" y="0"/>
                  </a:cubicBezTo>
                  <a:cubicBezTo>
                    <a:pt x="760" y="13906"/>
                    <a:pt x="1521" y="26956"/>
                    <a:pt x="2376" y="39148"/>
                  </a:cubicBezTo>
                  <a:cubicBezTo>
                    <a:pt x="14639" y="65437"/>
                    <a:pt x="38592" y="90202"/>
                    <a:pt x="74238" y="110871"/>
                  </a:cubicBezTo>
                  <a:cubicBezTo>
                    <a:pt x="120732" y="136255"/>
                    <a:pt x="172028" y="151571"/>
                    <a:pt x="224806" y="155829"/>
                  </a:cubicBezTo>
                  <a:cubicBezTo>
                    <a:pt x="253246" y="158601"/>
                    <a:pt x="281876" y="158820"/>
                    <a:pt x="310355" y="156496"/>
                  </a:cubicBezTo>
                  <a:cubicBezTo>
                    <a:pt x="365732" y="152991"/>
                    <a:pt x="419677" y="137417"/>
                    <a:pt x="468432" y="110871"/>
                  </a:cubicBezTo>
                  <a:cubicBezTo>
                    <a:pt x="503793" y="90392"/>
                    <a:pt x="527652" y="65913"/>
                    <a:pt x="540009" y="399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5"/>
            <p:cNvSpPr/>
            <p:nvPr/>
          </p:nvSpPr>
          <p:spPr>
            <a:xfrm>
              <a:off x="2829449" y="530444"/>
              <a:ext cx="249519" cy="126863"/>
            </a:xfrm>
            <a:custGeom>
              <a:avLst/>
              <a:gdLst/>
              <a:ahLst/>
              <a:cxnLst/>
              <a:rect l="l" t="t" r="r" b="b"/>
              <a:pathLst>
                <a:path w="249519" h="126863" extrusionOk="0">
                  <a:moveTo>
                    <a:pt x="249520" y="108109"/>
                  </a:moveTo>
                  <a:cubicBezTo>
                    <a:pt x="168218" y="133115"/>
                    <a:pt x="81302" y="133115"/>
                    <a:pt x="0" y="108109"/>
                  </a:cubicBezTo>
                  <a:cubicBezTo>
                    <a:pt x="33555" y="42481"/>
                    <a:pt x="73858" y="2381"/>
                    <a:pt x="122051" y="0"/>
                  </a:cubicBezTo>
                  <a:lnTo>
                    <a:pt x="122051" y="0"/>
                  </a:lnTo>
                  <a:lnTo>
                    <a:pt x="127564" y="0"/>
                  </a:lnTo>
                  <a:lnTo>
                    <a:pt x="127564" y="0"/>
                  </a:lnTo>
                  <a:cubicBezTo>
                    <a:pt x="175567" y="2857"/>
                    <a:pt x="215870" y="42767"/>
                    <a:pt x="249520" y="108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15"/>
            <p:cNvSpPr/>
            <p:nvPr/>
          </p:nvSpPr>
          <p:spPr>
            <a:xfrm>
              <a:off x="2934010" y="1583052"/>
              <a:ext cx="47432" cy="623982"/>
            </a:xfrm>
            <a:custGeom>
              <a:avLst/>
              <a:gdLst/>
              <a:ahLst/>
              <a:cxnLst/>
              <a:rect l="l" t="t" r="r" b="b"/>
              <a:pathLst>
                <a:path w="47432" h="623982" extrusionOk="0">
                  <a:moveTo>
                    <a:pt x="0" y="0"/>
                  </a:moveTo>
                  <a:lnTo>
                    <a:pt x="47433" y="0"/>
                  </a:lnTo>
                  <a:lnTo>
                    <a:pt x="47433" y="623983"/>
                  </a:lnTo>
                  <a:lnTo>
                    <a:pt x="0" y="6239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30" name="Google Shape;430;p15"/>
            <p:cNvGrpSpPr/>
            <p:nvPr/>
          </p:nvGrpSpPr>
          <p:grpSpPr>
            <a:xfrm>
              <a:off x="4031993" y="117216"/>
              <a:ext cx="2889297" cy="3901793"/>
              <a:chOff x="5533368" y="1047716"/>
              <a:chExt cx="2889297" cy="3901793"/>
            </a:xfrm>
          </p:grpSpPr>
          <p:sp>
            <p:nvSpPr>
              <p:cNvPr id="431" name="Google Shape;431;p15"/>
              <p:cNvSpPr/>
              <p:nvPr/>
            </p:nvSpPr>
            <p:spPr>
              <a:xfrm>
                <a:off x="6153722" y="4072604"/>
                <a:ext cx="1090544" cy="630910"/>
              </a:xfrm>
              <a:custGeom>
                <a:avLst/>
                <a:gdLst/>
                <a:ahLst/>
                <a:cxnLst/>
                <a:rect l="l" t="t" r="r" b="b"/>
                <a:pathLst>
                  <a:path w="1090544" h="630910" extrusionOk="0">
                    <a:moveTo>
                      <a:pt x="578197" y="615410"/>
                    </a:moveTo>
                    <a:lnTo>
                      <a:pt x="26877" y="296418"/>
                    </a:lnTo>
                    <a:cubicBezTo>
                      <a:pt x="-12951" y="273367"/>
                      <a:pt x="-7913" y="233172"/>
                      <a:pt x="37998" y="206597"/>
                    </a:cubicBezTo>
                    <a:lnTo>
                      <a:pt x="395216" y="0"/>
                    </a:lnTo>
                    <a:lnTo>
                      <a:pt x="1090545" y="402241"/>
                    </a:lnTo>
                    <a:lnTo>
                      <a:pt x="733327" y="608933"/>
                    </a:lnTo>
                    <a:cubicBezTo>
                      <a:pt x="687320" y="635508"/>
                      <a:pt x="617930" y="638365"/>
                      <a:pt x="578197" y="61541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15"/>
              <p:cNvSpPr/>
              <p:nvPr/>
            </p:nvSpPr>
            <p:spPr>
              <a:xfrm>
                <a:off x="6193969" y="4048886"/>
                <a:ext cx="1090601" cy="630901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01" extrusionOk="0">
                    <a:moveTo>
                      <a:pt x="578158" y="615410"/>
                    </a:moveTo>
                    <a:lnTo>
                      <a:pt x="26838" y="296323"/>
                    </a:lnTo>
                    <a:cubicBezTo>
                      <a:pt x="-12895" y="273368"/>
                      <a:pt x="-7952" y="233172"/>
                      <a:pt x="37960" y="206597"/>
                    </a:cubicBezTo>
                    <a:lnTo>
                      <a:pt x="395272" y="0"/>
                    </a:lnTo>
                    <a:lnTo>
                      <a:pt x="1090601" y="402241"/>
                    </a:lnTo>
                    <a:lnTo>
                      <a:pt x="733764" y="608838"/>
                    </a:lnTo>
                    <a:cubicBezTo>
                      <a:pt x="687377" y="635508"/>
                      <a:pt x="617891" y="638366"/>
                      <a:pt x="578158" y="61541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15"/>
              <p:cNvSpPr/>
              <p:nvPr/>
            </p:nvSpPr>
            <p:spPr>
              <a:xfrm>
                <a:off x="7252346" y="4430077"/>
                <a:ext cx="32128" cy="21050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21050" extrusionOk="0">
                    <a:moveTo>
                      <a:pt x="32129" y="21050"/>
                    </a:moveTo>
                    <a:lnTo>
                      <a:pt x="32129" y="0"/>
                    </a:lnTo>
                    <a:lnTo>
                      <a:pt x="0" y="18574"/>
                    </a:lnTo>
                    <a:lnTo>
                      <a:pt x="32129" y="2105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15"/>
              <p:cNvSpPr/>
              <p:nvPr/>
            </p:nvSpPr>
            <p:spPr>
              <a:xfrm>
                <a:off x="6193906" y="4285773"/>
                <a:ext cx="32984" cy="21431"/>
              </a:xfrm>
              <a:custGeom>
                <a:avLst/>
                <a:gdLst/>
                <a:ahLst/>
                <a:cxnLst/>
                <a:rect l="l" t="t" r="r" b="b"/>
                <a:pathLst>
                  <a:path w="32984" h="21431" extrusionOk="0">
                    <a:moveTo>
                      <a:pt x="0" y="21431"/>
                    </a:moveTo>
                    <a:lnTo>
                      <a:pt x="0" y="0"/>
                    </a:lnTo>
                    <a:lnTo>
                      <a:pt x="32984" y="13716"/>
                    </a:lnTo>
                    <a:lnTo>
                      <a:pt x="0" y="214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15"/>
              <p:cNvSpPr/>
              <p:nvPr/>
            </p:nvSpPr>
            <p:spPr>
              <a:xfrm>
                <a:off x="6193969" y="4027741"/>
                <a:ext cx="1090601" cy="630949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49" extrusionOk="0">
                    <a:moveTo>
                      <a:pt x="578158" y="615410"/>
                    </a:moveTo>
                    <a:lnTo>
                      <a:pt x="26838" y="296418"/>
                    </a:lnTo>
                    <a:cubicBezTo>
                      <a:pt x="-12895" y="273368"/>
                      <a:pt x="-7952" y="233267"/>
                      <a:pt x="37960" y="206693"/>
                    </a:cubicBezTo>
                    <a:lnTo>
                      <a:pt x="395272" y="0"/>
                    </a:lnTo>
                    <a:lnTo>
                      <a:pt x="1090601" y="402336"/>
                    </a:lnTo>
                    <a:lnTo>
                      <a:pt x="733764" y="608934"/>
                    </a:lnTo>
                    <a:cubicBezTo>
                      <a:pt x="687377" y="635508"/>
                      <a:pt x="617891" y="638461"/>
                      <a:pt x="578158" y="615410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15"/>
              <p:cNvSpPr/>
              <p:nvPr/>
            </p:nvSpPr>
            <p:spPr>
              <a:xfrm>
                <a:off x="6504927" y="3742563"/>
                <a:ext cx="779547" cy="687514"/>
              </a:xfrm>
              <a:custGeom>
                <a:avLst/>
                <a:gdLst/>
                <a:ahLst/>
                <a:cxnLst/>
                <a:rect l="l" t="t" r="r" b="b"/>
                <a:pathLst>
                  <a:path w="779547" h="687514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0"/>
                    </a:lnTo>
                    <a:lnTo>
                      <a:pt x="779548" y="687514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15"/>
              <p:cNvSpPr/>
              <p:nvPr/>
            </p:nvSpPr>
            <p:spPr>
              <a:xfrm>
                <a:off x="7254152" y="4405788"/>
                <a:ext cx="30322" cy="36004"/>
              </a:xfrm>
              <a:custGeom>
                <a:avLst/>
                <a:gdLst/>
                <a:ahLst/>
                <a:cxnLst/>
                <a:rect l="l" t="t" r="r" b="b"/>
                <a:pathLst>
                  <a:path w="30322" h="36004" extrusionOk="0">
                    <a:moveTo>
                      <a:pt x="9981" y="36004"/>
                    </a:moveTo>
                    <a:lnTo>
                      <a:pt x="30323" y="242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15"/>
              <p:cNvSpPr/>
              <p:nvPr/>
            </p:nvSpPr>
            <p:spPr>
              <a:xfrm>
                <a:off x="6482779" y="3753326"/>
                <a:ext cx="781258" cy="688466"/>
              </a:xfrm>
              <a:custGeom>
                <a:avLst/>
                <a:gdLst/>
                <a:ahLst/>
                <a:cxnLst/>
                <a:rect l="l" t="t" r="r" b="b"/>
                <a:pathLst>
                  <a:path w="781258" h="688466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1"/>
                    </a:lnTo>
                    <a:lnTo>
                      <a:pt x="781259" y="688467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15"/>
              <p:cNvSpPr/>
              <p:nvPr/>
            </p:nvSpPr>
            <p:spPr>
              <a:xfrm>
                <a:off x="5563120" y="1047716"/>
                <a:ext cx="2859545" cy="3884751"/>
              </a:xfrm>
              <a:custGeom>
                <a:avLst/>
                <a:gdLst/>
                <a:ahLst/>
                <a:cxnLst/>
                <a:rect l="l" t="t" r="r" b="b"/>
                <a:pathLst>
                  <a:path w="2859545" h="3884751" extrusionOk="0">
                    <a:moveTo>
                      <a:pt x="2790441" y="3876709"/>
                    </a:moveTo>
                    <a:lnTo>
                      <a:pt x="69105" y="2302131"/>
                    </a:lnTo>
                    <a:cubicBezTo>
                      <a:pt x="31083" y="2280033"/>
                      <a:pt x="0" y="2220787"/>
                      <a:pt x="0" y="2169829"/>
                    </a:cubicBezTo>
                    <a:lnTo>
                      <a:pt x="0" y="60708"/>
                    </a:lnTo>
                    <a:cubicBezTo>
                      <a:pt x="0" y="9654"/>
                      <a:pt x="30988" y="-13778"/>
                      <a:pt x="69105" y="8320"/>
                    </a:cubicBezTo>
                    <a:lnTo>
                      <a:pt x="2790441" y="1582517"/>
                    </a:lnTo>
                    <a:cubicBezTo>
                      <a:pt x="2828463" y="1604615"/>
                      <a:pt x="2859546" y="1663861"/>
                      <a:pt x="2859546" y="1714819"/>
                    </a:cubicBezTo>
                    <a:lnTo>
                      <a:pt x="2859546" y="3823940"/>
                    </a:lnTo>
                    <a:cubicBezTo>
                      <a:pt x="2859261" y="3874899"/>
                      <a:pt x="2828463" y="3898330"/>
                      <a:pt x="2790441" y="3876709"/>
                    </a:cubicBez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15"/>
              <p:cNvSpPr/>
              <p:nvPr/>
            </p:nvSpPr>
            <p:spPr>
              <a:xfrm>
                <a:off x="8367249" y="4838795"/>
                <a:ext cx="30132" cy="106965"/>
              </a:xfrm>
              <a:custGeom>
                <a:avLst/>
                <a:gdLst/>
                <a:ahLst/>
                <a:cxnLst/>
                <a:rect l="l" t="t" r="r" b="b"/>
                <a:pathLst>
                  <a:path w="30132" h="106965" extrusionOk="0">
                    <a:moveTo>
                      <a:pt x="0" y="106966"/>
                    </a:moveTo>
                    <a:lnTo>
                      <a:pt x="30132" y="89535"/>
                    </a:lnTo>
                    <a:lnTo>
                      <a:pt x="17110" y="0"/>
                    </a:lnTo>
                    <a:lnTo>
                      <a:pt x="0" y="106966"/>
                    </a:ln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15"/>
              <p:cNvSpPr/>
              <p:nvPr/>
            </p:nvSpPr>
            <p:spPr>
              <a:xfrm>
                <a:off x="5558272" y="1051845"/>
                <a:ext cx="72337" cy="31155"/>
              </a:xfrm>
              <a:custGeom>
                <a:avLst/>
                <a:gdLst/>
                <a:ahLst/>
                <a:cxnLst/>
                <a:rect l="l" t="t" r="r" b="b"/>
                <a:pathLst>
                  <a:path w="72337" h="31155" extrusionOk="0">
                    <a:moveTo>
                      <a:pt x="0" y="17240"/>
                    </a:moveTo>
                    <a:lnTo>
                      <a:pt x="29657" y="0"/>
                    </a:lnTo>
                    <a:lnTo>
                      <a:pt x="72337" y="24479"/>
                    </a:lnTo>
                    <a:cubicBezTo>
                      <a:pt x="72337" y="24479"/>
                      <a:pt x="26901" y="31433"/>
                      <a:pt x="25760" y="31147"/>
                    </a:cubicBezTo>
                    <a:cubicBezTo>
                      <a:pt x="24619" y="30861"/>
                      <a:pt x="0" y="17240"/>
                      <a:pt x="0" y="1724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15"/>
              <p:cNvSpPr/>
              <p:nvPr/>
            </p:nvSpPr>
            <p:spPr>
              <a:xfrm>
                <a:off x="5538216" y="1062192"/>
                <a:ext cx="2859165" cy="3884558"/>
              </a:xfrm>
              <a:custGeom>
                <a:avLst/>
                <a:gdLst/>
                <a:ahLst/>
                <a:cxnLst/>
                <a:rect l="l" t="t" r="r" b="b"/>
                <a:pathLst>
                  <a:path w="2859165" h="3884558" extrusionOk="0">
                    <a:moveTo>
                      <a:pt x="2790061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789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893" y="-13776"/>
                      <a:pt x="69105" y="8322"/>
                    </a:cubicBezTo>
                    <a:lnTo>
                      <a:pt x="2790061" y="1582519"/>
                    </a:lnTo>
                    <a:cubicBezTo>
                      <a:pt x="2828083" y="1604617"/>
                      <a:pt x="2859166" y="1663862"/>
                      <a:pt x="2859166" y="1714821"/>
                    </a:cubicBezTo>
                    <a:lnTo>
                      <a:pt x="2859166" y="3824132"/>
                    </a:lnTo>
                    <a:cubicBezTo>
                      <a:pt x="2859166" y="3874900"/>
                      <a:pt x="2828273" y="3898332"/>
                      <a:pt x="2790061" y="3876234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15"/>
              <p:cNvSpPr/>
              <p:nvPr/>
            </p:nvSpPr>
            <p:spPr>
              <a:xfrm>
                <a:off x="5533368" y="1064955"/>
                <a:ext cx="2859260" cy="3884554"/>
              </a:xfrm>
              <a:custGeom>
                <a:avLst/>
                <a:gdLst/>
                <a:ahLst/>
                <a:cxnLst/>
                <a:rect l="l" t="t" r="r" b="b"/>
                <a:pathLst>
                  <a:path w="2859260" h="3884554" extrusionOk="0">
                    <a:moveTo>
                      <a:pt x="2790156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694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988" y="-13776"/>
                      <a:pt x="69105" y="8322"/>
                    </a:cubicBezTo>
                    <a:lnTo>
                      <a:pt x="2790156" y="1582995"/>
                    </a:lnTo>
                    <a:cubicBezTo>
                      <a:pt x="2828178" y="1604998"/>
                      <a:pt x="2859261" y="1664243"/>
                      <a:pt x="2859261" y="1715297"/>
                    </a:cubicBezTo>
                    <a:lnTo>
                      <a:pt x="2859261" y="3823847"/>
                    </a:lnTo>
                    <a:cubicBezTo>
                      <a:pt x="2859261" y="3874900"/>
                      <a:pt x="2828273" y="3898332"/>
                      <a:pt x="2790156" y="38762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44;p15"/>
              <p:cNvSpPr/>
              <p:nvPr/>
            </p:nvSpPr>
            <p:spPr>
              <a:xfrm>
                <a:off x="5568443" y="1110406"/>
                <a:ext cx="2788159" cy="3702480"/>
              </a:xfrm>
              <a:custGeom>
                <a:avLst/>
                <a:gdLst/>
                <a:ahLst/>
                <a:cxnLst/>
                <a:rect l="l" t="t" r="r" b="b"/>
                <a:pathLst>
                  <a:path w="2788159" h="3702480" extrusionOk="0">
                    <a:moveTo>
                      <a:pt x="2786734" y="3702481"/>
                    </a:moveTo>
                    <a:lnTo>
                      <a:pt x="0" y="2089993"/>
                    </a:lnTo>
                    <a:lnTo>
                      <a:pt x="951" y="23640"/>
                    </a:lnTo>
                    <a:cubicBezTo>
                      <a:pt x="951" y="2494"/>
                      <a:pt x="15779" y="-6078"/>
                      <a:pt x="34030" y="4590"/>
                    </a:cubicBezTo>
                    <a:lnTo>
                      <a:pt x="2755080" y="1578691"/>
                    </a:lnTo>
                    <a:cubicBezTo>
                      <a:pt x="2774529" y="1591407"/>
                      <a:pt x="2786800" y="1612610"/>
                      <a:pt x="2788160" y="16358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45;p15"/>
              <p:cNvSpPr/>
              <p:nvPr/>
            </p:nvSpPr>
            <p:spPr>
              <a:xfrm>
                <a:off x="5762166" y="1403396"/>
                <a:ext cx="919754" cy="618313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13" extrusionOk="0">
                    <a:moveTo>
                      <a:pt x="906256" y="616665"/>
                    </a:moveTo>
                    <a:lnTo>
                      <a:pt x="13498" y="100220"/>
                    </a:lnTo>
                    <a:cubicBezTo>
                      <a:pt x="5142" y="94185"/>
                      <a:pt x="133" y="84538"/>
                      <a:pt x="0" y="74217"/>
                    </a:cubicBezTo>
                    <a:lnTo>
                      <a:pt x="0" y="11828"/>
                    </a:lnTo>
                    <a:cubicBezTo>
                      <a:pt x="0" y="2303"/>
                      <a:pt x="5988" y="-2745"/>
                      <a:pt x="13498" y="1541"/>
                    </a:cubicBezTo>
                    <a:lnTo>
                      <a:pt x="906256" y="517986"/>
                    </a:lnTo>
                    <a:cubicBezTo>
                      <a:pt x="914574" y="524052"/>
                      <a:pt x="919574" y="533680"/>
                      <a:pt x="919754" y="543990"/>
                    </a:cubicBezTo>
                    <a:lnTo>
                      <a:pt x="919754" y="606378"/>
                    </a:lnTo>
                    <a:cubicBezTo>
                      <a:pt x="919754" y="616380"/>
                      <a:pt x="913671" y="621047"/>
                      <a:pt x="906256" y="61666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15"/>
              <p:cNvSpPr/>
              <p:nvPr/>
            </p:nvSpPr>
            <p:spPr>
              <a:xfrm>
                <a:off x="5766158" y="1584712"/>
                <a:ext cx="686298" cy="451951"/>
              </a:xfrm>
              <a:custGeom>
                <a:avLst/>
                <a:gdLst/>
                <a:ahLst/>
                <a:cxnLst/>
                <a:rect l="l" t="t" r="r" b="b"/>
                <a:pathLst>
                  <a:path w="686298" h="451951" extrusionOk="0">
                    <a:moveTo>
                      <a:pt x="672991" y="450304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057"/>
                    </a:lnTo>
                    <a:cubicBezTo>
                      <a:pt x="681261" y="389103"/>
                      <a:pt x="686194" y="398708"/>
                      <a:pt x="686299" y="408965"/>
                    </a:cubicBezTo>
                    <a:lnTo>
                      <a:pt x="686299" y="440017"/>
                    </a:lnTo>
                    <a:cubicBezTo>
                      <a:pt x="686299" y="450018"/>
                      <a:pt x="680405" y="454685"/>
                      <a:pt x="672991" y="45030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15"/>
              <p:cNvSpPr/>
              <p:nvPr/>
            </p:nvSpPr>
            <p:spPr>
              <a:xfrm>
                <a:off x="5766158" y="1702632"/>
                <a:ext cx="686488" cy="45175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759" extrusionOk="0">
                    <a:moveTo>
                      <a:pt x="672991" y="450018"/>
                    </a:moveTo>
                    <a:lnTo>
                      <a:pt x="13593" y="69018"/>
                    </a:lnTo>
                    <a:cubicBezTo>
                      <a:pt x="5199" y="63044"/>
                      <a:pt x="152" y="53422"/>
                      <a:pt x="0" y="43110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343"/>
                    </a:lnTo>
                    <a:cubicBezTo>
                      <a:pt x="681337" y="389344"/>
                      <a:pt x="686337" y="398964"/>
                      <a:pt x="686489" y="409251"/>
                    </a:cubicBezTo>
                    <a:lnTo>
                      <a:pt x="686489" y="440302"/>
                    </a:lnTo>
                    <a:cubicBezTo>
                      <a:pt x="686299" y="450018"/>
                      <a:pt x="680405" y="454495"/>
                      <a:pt x="672991" y="45001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48;p15"/>
              <p:cNvSpPr/>
              <p:nvPr/>
            </p:nvSpPr>
            <p:spPr>
              <a:xfrm>
                <a:off x="5766158" y="1820170"/>
                <a:ext cx="562156" cy="379997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97" extrusionOk="0">
                    <a:moveTo>
                      <a:pt x="548564" y="378390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548564" y="311048"/>
                    </a:lnTo>
                    <a:cubicBezTo>
                      <a:pt x="556948" y="317077"/>
                      <a:pt x="561985" y="326717"/>
                      <a:pt x="562157" y="337051"/>
                    </a:cubicBezTo>
                    <a:lnTo>
                      <a:pt x="562157" y="368103"/>
                    </a:lnTo>
                    <a:cubicBezTo>
                      <a:pt x="562157" y="378104"/>
                      <a:pt x="556073" y="382676"/>
                      <a:pt x="548564" y="3783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15"/>
              <p:cNvSpPr/>
              <p:nvPr/>
            </p:nvSpPr>
            <p:spPr>
              <a:xfrm>
                <a:off x="5762166" y="2639293"/>
                <a:ext cx="919754" cy="618340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40" extrusionOk="0">
                    <a:moveTo>
                      <a:pt x="906256" y="616732"/>
                    </a:moveTo>
                    <a:lnTo>
                      <a:pt x="13498" y="100287"/>
                    </a:lnTo>
                    <a:cubicBezTo>
                      <a:pt x="5142" y="94248"/>
                      <a:pt x="133" y="84609"/>
                      <a:pt x="0" y="74284"/>
                    </a:cubicBezTo>
                    <a:lnTo>
                      <a:pt x="0" y="11895"/>
                    </a:lnTo>
                    <a:cubicBezTo>
                      <a:pt x="0" y="1894"/>
                      <a:pt x="5988" y="-2678"/>
                      <a:pt x="13498" y="1608"/>
                    </a:cubicBezTo>
                    <a:lnTo>
                      <a:pt x="906256" y="518053"/>
                    </a:lnTo>
                    <a:cubicBezTo>
                      <a:pt x="914574" y="524121"/>
                      <a:pt x="919574" y="533751"/>
                      <a:pt x="919754" y="544057"/>
                    </a:cubicBezTo>
                    <a:lnTo>
                      <a:pt x="919754" y="606445"/>
                    </a:lnTo>
                    <a:cubicBezTo>
                      <a:pt x="919754" y="616447"/>
                      <a:pt x="913671" y="621019"/>
                      <a:pt x="906256" y="61673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15"/>
              <p:cNvSpPr/>
              <p:nvPr/>
            </p:nvSpPr>
            <p:spPr>
              <a:xfrm>
                <a:off x="5766158" y="2821069"/>
                <a:ext cx="686488" cy="45151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519" extrusionOk="0">
                    <a:moveTo>
                      <a:pt x="672991" y="449910"/>
                    </a:moveTo>
                    <a:lnTo>
                      <a:pt x="13593" y="68910"/>
                    </a:lnTo>
                    <a:cubicBezTo>
                      <a:pt x="5209" y="62881"/>
                      <a:pt x="171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672991" y="382664"/>
                    </a:lnTo>
                    <a:cubicBezTo>
                      <a:pt x="681308" y="388731"/>
                      <a:pt x="686308" y="398361"/>
                      <a:pt x="686489" y="408667"/>
                    </a:cubicBezTo>
                    <a:lnTo>
                      <a:pt x="686489" y="439719"/>
                    </a:lnTo>
                    <a:cubicBezTo>
                      <a:pt x="686299" y="449625"/>
                      <a:pt x="680405" y="454197"/>
                      <a:pt x="672991" y="44991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51;p15"/>
              <p:cNvSpPr/>
              <p:nvPr/>
            </p:nvSpPr>
            <p:spPr>
              <a:xfrm>
                <a:off x="5766158" y="2938486"/>
                <a:ext cx="686488" cy="451826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826" extrusionOk="0">
                    <a:moveTo>
                      <a:pt x="672991" y="450223"/>
                    </a:moveTo>
                    <a:lnTo>
                      <a:pt x="13593" y="68747"/>
                    </a:lnTo>
                    <a:cubicBezTo>
                      <a:pt x="5228" y="62756"/>
                      <a:pt x="190" y="53145"/>
                      <a:pt x="0" y="42839"/>
                    </a:cubicBezTo>
                    <a:lnTo>
                      <a:pt x="0" y="11787"/>
                    </a:lnTo>
                    <a:cubicBezTo>
                      <a:pt x="0" y="2262"/>
                      <a:pt x="6084" y="-2786"/>
                      <a:pt x="13593" y="1595"/>
                    </a:cubicBezTo>
                    <a:lnTo>
                      <a:pt x="672991" y="382595"/>
                    </a:lnTo>
                    <a:cubicBezTo>
                      <a:pt x="681308" y="388663"/>
                      <a:pt x="686308" y="398293"/>
                      <a:pt x="686489" y="408599"/>
                    </a:cubicBezTo>
                    <a:lnTo>
                      <a:pt x="686489" y="439650"/>
                    </a:lnTo>
                    <a:cubicBezTo>
                      <a:pt x="686299" y="449937"/>
                      <a:pt x="680405" y="454509"/>
                      <a:pt x="672991" y="45022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15"/>
              <p:cNvSpPr/>
              <p:nvPr/>
            </p:nvSpPr>
            <p:spPr>
              <a:xfrm>
                <a:off x="5766158" y="3056051"/>
                <a:ext cx="562156" cy="379920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20" extrusionOk="0">
                    <a:moveTo>
                      <a:pt x="548564" y="378378"/>
                    </a:moveTo>
                    <a:lnTo>
                      <a:pt x="13593" y="68910"/>
                    </a:lnTo>
                    <a:cubicBezTo>
                      <a:pt x="5199" y="62900"/>
                      <a:pt x="152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548564" y="311131"/>
                    </a:lnTo>
                    <a:cubicBezTo>
                      <a:pt x="556948" y="317161"/>
                      <a:pt x="561985" y="326800"/>
                      <a:pt x="562157" y="337134"/>
                    </a:cubicBezTo>
                    <a:lnTo>
                      <a:pt x="562157" y="368186"/>
                    </a:lnTo>
                    <a:cubicBezTo>
                      <a:pt x="562157" y="378187"/>
                      <a:pt x="556073" y="382473"/>
                      <a:pt x="548564" y="378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53;p15"/>
              <p:cNvSpPr/>
              <p:nvPr/>
            </p:nvSpPr>
            <p:spPr>
              <a:xfrm>
                <a:off x="6897600" y="3332192"/>
                <a:ext cx="1250451" cy="1162368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62368" extrusionOk="0">
                    <a:moveTo>
                      <a:pt x="9696" y="77186"/>
                    </a:moveTo>
                    <a:cubicBezTo>
                      <a:pt x="9696" y="77186"/>
                      <a:pt x="108173" y="160053"/>
                      <a:pt x="250376" y="46896"/>
                    </a:cubicBezTo>
                    <a:cubicBezTo>
                      <a:pt x="351895" y="-36543"/>
                      <a:pt x="442672" y="11082"/>
                      <a:pt x="493242" y="39657"/>
                    </a:cubicBezTo>
                    <a:cubicBezTo>
                      <a:pt x="543811" y="68232"/>
                      <a:pt x="616813" y="85758"/>
                      <a:pt x="755879" y="337409"/>
                    </a:cubicBezTo>
                    <a:cubicBezTo>
                      <a:pt x="755879" y="337409"/>
                      <a:pt x="801125" y="416276"/>
                      <a:pt x="875839" y="459519"/>
                    </a:cubicBezTo>
                    <a:cubicBezTo>
                      <a:pt x="950552" y="502763"/>
                      <a:pt x="986483" y="481617"/>
                      <a:pt x="1045227" y="392844"/>
                    </a:cubicBezTo>
                    <a:cubicBezTo>
                      <a:pt x="1103971" y="304071"/>
                      <a:pt x="1142469" y="205773"/>
                      <a:pt x="1250452" y="269972"/>
                    </a:cubicBezTo>
                    <a:lnTo>
                      <a:pt x="1250452" y="1162369"/>
                    </a:lnTo>
                    <a:lnTo>
                      <a:pt x="0" y="439707"/>
                    </a:lnTo>
                    <a:lnTo>
                      <a:pt x="0" y="71375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54;p15"/>
              <p:cNvSpPr/>
              <p:nvPr/>
            </p:nvSpPr>
            <p:spPr>
              <a:xfrm>
                <a:off x="5766443" y="2003281"/>
                <a:ext cx="882682" cy="1029375"/>
              </a:xfrm>
              <a:custGeom>
                <a:avLst/>
                <a:gdLst/>
                <a:ahLst/>
                <a:cxnLst/>
                <a:rect l="l" t="t" r="r" b="b"/>
                <a:pathLst>
                  <a:path w="882682" h="1029375" extrusionOk="0">
                    <a:moveTo>
                      <a:pt x="869090" y="1027764"/>
                    </a:moveTo>
                    <a:lnTo>
                      <a:pt x="13593" y="532464"/>
                    </a:lnTo>
                    <a:cubicBezTo>
                      <a:pt x="5209" y="526435"/>
                      <a:pt x="171" y="516796"/>
                      <a:pt x="0" y="506461"/>
                    </a:cubicBezTo>
                    <a:lnTo>
                      <a:pt x="0" y="11828"/>
                    </a:lnTo>
                    <a:cubicBezTo>
                      <a:pt x="0" y="2303"/>
                      <a:pt x="6084" y="-2745"/>
                      <a:pt x="13593" y="1541"/>
                    </a:cubicBezTo>
                    <a:lnTo>
                      <a:pt x="869090" y="496841"/>
                    </a:lnTo>
                    <a:cubicBezTo>
                      <a:pt x="877474" y="502870"/>
                      <a:pt x="882512" y="512510"/>
                      <a:pt x="882683" y="522844"/>
                    </a:cubicBezTo>
                    <a:lnTo>
                      <a:pt x="882683" y="1017668"/>
                    </a:lnTo>
                    <a:cubicBezTo>
                      <a:pt x="882683" y="1027479"/>
                      <a:pt x="876599" y="1032051"/>
                      <a:pt x="869090" y="102776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55;p15"/>
              <p:cNvSpPr/>
              <p:nvPr/>
            </p:nvSpPr>
            <p:spPr>
              <a:xfrm>
                <a:off x="6897600" y="3388613"/>
                <a:ext cx="1250451" cy="1106424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06424" extrusionOk="0">
                    <a:moveTo>
                      <a:pt x="0" y="0"/>
                    </a:moveTo>
                    <a:lnTo>
                      <a:pt x="0" y="383096"/>
                    </a:lnTo>
                    <a:lnTo>
                      <a:pt x="1250452" y="1106424"/>
                    </a:lnTo>
                    <a:lnTo>
                      <a:pt x="1250452" y="214027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15"/>
              <p:cNvSpPr/>
              <p:nvPr/>
            </p:nvSpPr>
            <p:spPr>
              <a:xfrm>
                <a:off x="7389036" y="3376326"/>
                <a:ext cx="9505" cy="678751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678751" extrusionOk="0">
                    <a:moveTo>
                      <a:pt x="0" y="0"/>
                    </a:moveTo>
                    <a:lnTo>
                      <a:pt x="0" y="678752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57;p15"/>
              <p:cNvSpPr/>
              <p:nvPr/>
            </p:nvSpPr>
            <p:spPr>
              <a:xfrm>
                <a:off x="7771633" y="3805618"/>
                <a:ext cx="9505" cy="470725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470725" extrusionOk="0">
                    <a:moveTo>
                      <a:pt x="0" y="0"/>
                    </a:moveTo>
                    <a:lnTo>
                      <a:pt x="0" y="470725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15"/>
              <p:cNvSpPr/>
              <p:nvPr/>
            </p:nvSpPr>
            <p:spPr>
              <a:xfrm>
                <a:off x="6897600" y="3332663"/>
                <a:ext cx="1250451" cy="479359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479359" extrusionOk="0">
                    <a:moveTo>
                      <a:pt x="0" y="70905"/>
                    </a:moveTo>
                    <a:cubicBezTo>
                      <a:pt x="221859" y="208732"/>
                      <a:pt x="253227" y="-102831"/>
                      <a:pt x="494953" y="36996"/>
                    </a:cubicBezTo>
                    <a:cubicBezTo>
                      <a:pt x="736678" y="176823"/>
                      <a:pt x="703314" y="359036"/>
                      <a:pt x="881732" y="462288"/>
                    </a:cubicBezTo>
                    <a:cubicBezTo>
                      <a:pt x="1060151" y="565538"/>
                      <a:pt x="1064333" y="162250"/>
                      <a:pt x="1250452" y="269978"/>
                    </a:cubicBezTo>
                  </a:path>
                </a:pathLst>
              </a:custGeom>
              <a:noFill/>
              <a:ln w="14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15"/>
              <p:cNvSpPr/>
              <p:nvPr/>
            </p:nvSpPr>
            <p:spPr>
              <a:xfrm rot="-1801764">
                <a:off x="7364922" y="3334621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60;p15"/>
              <p:cNvSpPr/>
              <p:nvPr/>
            </p:nvSpPr>
            <p:spPr>
              <a:xfrm rot="-1790023">
                <a:off x="8141346" y="3571007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4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4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61;p15"/>
              <p:cNvSpPr/>
              <p:nvPr/>
            </p:nvSpPr>
            <p:spPr>
              <a:xfrm rot="-1790023">
                <a:off x="7763340" y="3766404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3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3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62;p15"/>
              <p:cNvSpPr/>
              <p:nvPr/>
            </p:nvSpPr>
            <p:spPr>
              <a:xfrm rot="-1801764">
                <a:off x="6873548" y="3361832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p15"/>
              <p:cNvSpPr/>
              <p:nvPr/>
            </p:nvSpPr>
            <p:spPr>
              <a:xfrm>
                <a:off x="6868038" y="2430219"/>
                <a:ext cx="78705" cy="316778"/>
              </a:xfrm>
              <a:custGeom>
                <a:avLst/>
                <a:gdLst/>
                <a:ahLst/>
                <a:cxnLst/>
                <a:rect l="l" t="t" r="r" b="b"/>
                <a:pathLst>
                  <a:path w="78705" h="316778" extrusionOk="0">
                    <a:moveTo>
                      <a:pt x="64828" y="315171"/>
                    </a:moveTo>
                    <a:lnTo>
                      <a:pt x="13593" y="285548"/>
                    </a:lnTo>
                    <a:cubicBezTo>
                      <a:pt x="5209" y="279519"/>
                      <a:pt x="171" y="269880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193" y="37136"/>
                      <a:pt x="78335" y="46566"/>
                      <a:pt x="78706" y="56758"/>
                    </a:cubicBezTo>
                    <a:lnTo>
                      <a:pt x="78706" y="304884"/>
                    </a:lnTo>
                    <a:cubicBezTo>
                      <a:pt x="78706" y="314885"/>
                      <a:pt x="72337" y="319457"/>
                      <a:pt x="64828" y="3151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64;p15"/>
              <p:cNvSpPr/>
              <p:nvPr/>
            </p:nvSpPr>
            <p:spPr>
              <a:xfrm>
                <a:off x="6986477" y="2241366"/>
                <a:ext cx="78420" cy="57392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73928" extrusionOk="0">
                    <a:moveTo>
                      <a:pt x="64828" y="572319"/>
                    </a:moveTo>
                    <a:lnTo>
                      <a:pt x="13593" y="542601"/>
                    </a:lnTo>
                    <a:cubicBezTo>
                      <a:pt x="5199" y="536629"/>
                      <a:pt x="152" y="527009"/>
                      <a:pt x="0" y="516693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4828" y="31299"/>
                    </a:lnTo>
                    <a:cubicBezTo>
                      <a:pt x="73211" y="37328"/>
                      <a:pt x="78249" y="46967"/>
                      <a:pt x="78421" y="57302"/>
                    </a:cubicBezTo>
                    <a:lnTo>
                      <a:pt x="78421" y="562127"/>
                    </a:lnTo>
                    <a:cubicBezTo>
                      <a:pt x="78041" y="572033"/>
                      <a:pt x="71957" y="576605"/>
                      <a:pt x="64828" y="5723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15"/>
              <p:cNvSpPr/>
              <p:nvPr/>
            </p:nvSpPr>
            <p:spPr>
              <a:xfrm>
                <a:off x="7222119" y="2426981"/>
                <a:ext cx="78420" cy="524860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24860" extrusionOk="0">
                    <a:moveTo>
                      <a:pt x="64828" y="523197"/>
                    </a:moveTo>
                    <a:lnTo>
                      <a:pt x="13593" y="493574"/>
                    </a:lnTo>
                    <a:cubicBezTo>
                      <a:pt x="5181" y="487583"/>
                      <a:pt x="124" y="477915"/>
                      <a:pt x="0" y="467571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231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513005"/>
                    </a:lnTo>
                    <a:cubicBezTo>
                      <a:pt x="78421" y="523006"/>
                      <a:pt x="72337" y="527578"/>
                      <a:pt x="64828" y="52319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15"/>
              <p:cNvSpPr/>
              <p:nvPr/>
            </p:nvSpPr>
            <p:spPr>
              <a:xfrm>
                <a:off x="7340177" y="2573447"/>
                <a:ext cx="78420" cy="446687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446687" extrusionOk="0">
                    <a:moveTo>
                      <a:pt x="64827" y="445025"/>
                    </a:moveTo>
                    <a:lnTo>
                      <a:pt x="13593" y="415402"/>
                    </a:lnTo>
                    <a:cubicBezTo>
                      <a:pt x="5209" y="409373"/>
                      <a:pt x="171" y="399734"/>
                      <a:pt x="0" y="389399"/>
                    </a:cubicBezTo>
                    <a:lnTo>
                      <a:pt x="0" y="11828"/>
                    </a:lnTo>
                    <a:cubicBezTo>
                      <a:pt x="0" y="2303"/>
                      <a:pt x="6083" y="-2745"/>
                      <a:pt x="13593" y="1541"/>
                    </a:cubicBezTo>
                    <a:lnTo>
                      <a:pt x="64827" y="31259"/>
                    </a:lnTo>
                    <a:cubicBezTo>
                      <a:pt x="73221" y="37231"/>
                      <a:pt x="78268" y="46851"/>
                      <a:pt x="78421" y="57167"/>
                    </a:cubicBezTo>
                    <a:lnTo>
                      <a:pt x="78421" y="434738"/>
                    </a:lnTo>
                    <a:cubicBezTo>
                      <a:pt x="78421" y="444835"/>
                      <a:pt x="72337" y="449406"/>
                      <a:pt x="64827" y="44502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67;p15"/>
              <p:cNvSpPr/>
              <p:nvPr/>
            </p:nvSpPr>
            <p:spPr>
              <a:xfrm>
                <a:off x="7575249" y="2900319"/>
                <a:ext cx="78325" cy="255777"/>
              </a:xfrm>
              <a:custGeom>
                <a:avLst/>
                <a:gdLst/>
                <a:ahLst/>
                <a:cxnLst/>
                <a:rect l="l" t="t" r="r" b="b"/>
                <a:pathLst>
                  <a:path w="78325" h="255777" extrusionOk="0">
                    <a:moveTo>
                      <a:pt x="64828" y="254170"/>
                    </a:moveTo>
                    <a:lnTo>
                      <a:pt x="13498" y="224547"/>
                    </a:lnTo>
                    <a:cubicBezTo>
                      <a:pt x="5143" y="218508"/>
                      <a:pt x="133" y="208869"/>
                      <a:pt x="0" y="198544"/>
                    </a:cubicBezTo>
                    <a:lnTo>
                      <a:pt x="0" y="11949"/>
                    </a:lnTo>
                    <a:cubicBezTo>
                      <a:pt x="0" y="1853"/>
                      <a:pt x="5989" y="-2719"/>
                      <a:pt x="13498" y="1662"/>
                    </a:cubicBezTo>
                    <a:lnTo>
                      <a:pt x="64828" y="31285"/>
                    </a:lnTo>
                    <a:cubicBezTo>
                      <a:pt x="73145" y="37352"/>
                      <a:pt x="78145" y="46982"/>
                      <a:pt x="78325" y="57288"/>
                    </a:cubicBezTo>
                    <a:lnTo>
                      <a:pt x="78325" y="243883"/>
                    </a:lnTo>
                    <a:cubicBezTo>
                      <a:pt x="78325" y="253884"/>
                      <a:pt x="72242" y="258456"/>
                      <a:pt x="64828" y="2541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p15"/>
              <p:cNvSpPr/>
              <p:nvPr/>
            </p:nvSpPr>
            <p:spPr>
              <a:xfrm>
                <a:off x="7693593" y="2520557"/>
                <a:ext cx="78420" cy="70383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703833" extrusionOk="0">
                    <a:moveTo>
                      <a:pt x="64447" y="702226"/>
                    </a:moveTo>
                    <a:lnTo>
                      <a:pt x="13593" y="672508"/>
                    </a:lnTo>
                    <a:cubicBezTo>
                      <a:pt x="5199" y="666536"/>
                      <a:pt x="152" y="656916"/>
                      <a:pt x="0" y="646600"/>
                    </a:cubicBezTo>
                    <a:lnTo>
                      <a:pt x="0" y="11949"/>
                    </a:lnTo>
                    <a:cubicBezTo>
                      <a:pt x="0" y="1853"/>
                      <a:pt x="6083" y="-2719"/>
                      <a:pt x="13593" y="1662"/>
                    </a:cubicBezTo>
                    <a:lnTo>
                      <a:pt x="64828" y="31285"/>
                    </a:lnTo>
                    <a:cubicBezTo>
                      <a:pt x="73221" y="37305"/>
                      <a:pt x="78268" y="46954"/>
                      <a:pt x="78421" y="57288"/>
                    </a:cubicBezTo>
                    <a:lnTo>
                      <a:pt x="78421" y="691939"/>
                    </a:lnTo>
                    <a:cubicBezTo>
                      <a:pt x="78040" y="701940"/>
                      <a:pt x="71957" y="706512"/>
                      <a:pt x="64447" y="702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69;p15"/>
              <p:cNvSpPr/>
              <p:nvPr/>
            </p:nvSpPr>
            <p:spPr>
              <a:xfrm>
                <a:off x="7981135" y="3135165"/>
                <a:ext cx="78420" cy="25581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255818" extrusionOk="0">
                    <a:moveTo>
                      <a:pt x="64828" y="254211"/>
                    </a:moveTo>
                    <a:lnTo>
                      <a:pt x="13593" y="224493"/>
                    </a:lnTo>
                    <a:cubicBezTo>
                      <a:pt x="5199" y="218521"/>
                      <a:pt x="152" y="208900"/>
                      <a:pt x="0" y="19858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240" y="37317"/>
                      <a:pt x="78297" y="46985"/>
                      <a:pt x="78421" y="57329"/>
                    </a:cubicBezTo>
                    <a:lnTo>
                      <a:pt x="78421" y="243924"/>
                    </a:lnTo>
                    <a:cubicBezTo>
                      <a:pt x="78421" y="253925"/>
                      <a:pt x="72337" y="258497"/>
                      <a:pt x="64828" y="25421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70;p15"/>
              <p:cNvSpPr/>
              <p:nvPr/>
            </p:nvSpPr>
            <p:spPr>
              <a:xfrm>
                <a:off x="8099193" y="3142308"/>
                <a:ext cx="78420" cy="31696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316963" extrusionOk="0">
                    <a:moveTo>
                      <a:pt x="64828" y="315266"/>
                    </a:moveTo>
                    <a:lnTo>
                      <a:pt x="13593" y="285548"/>
                    </a:lnTo>
                    <a:cubicBezTo>
                      <a:pt x="5181" y="279557"/>
                      <a:pt x="124" y="269889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4" y="-2678"/>
                      <a:pt x="13593" y="1608"/>
                    </a:cubicBezTo>
                    <a:lnTo>
                      <a:pt x="64828" y="31230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305360"/>
                    </a:lnTo>
                    <a:cubicBezTo>
                      <a:pt x="78421" y="315266"/>
                      <a:pt x="72337" y="319648"/>
                      <a:pt x="64828" y="315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71" name="Google Shape;471;p15"/>
            <p:cNvSpPr/>
            <p:nvPr/>
          </p:nvSpPr>
          <p:spPr>
            <a:xfrm>
              <a:off x="2810939" y="4355647"/>
              <a:ext cx="905825" cy="524291"/>
            </a:xfrm>
            <a:custGeom>
              <a:avLst/>
              <a:gdLst/>
              <a:ahLst/>
              <a:cxnLst/>
              <a:rect l="l" t="t" r="r" b="b"/>
              <a:pathLst>
                <a:path w="905825" h="524291" extrusionOk="0">
                  <a:moveTo>
                    <a:pt x="456810" y="505052"/>
                  </a:moveTo>
                  <a:lnTo>
                    <a:pt x="32483" y="259879"/>
                  </a:lnTo>
                  <a:cubicBezTo>
                    <a:pt x="-15615" y="231970"/>
                    <a:pt x="-9626" y="183679"/>
                    <a:pt x="45981" y="151294"/>
                  </a:cubicBezTo>
                  <a:lnTo>
                    <a:pt x="261376" y="26611"/>
                  </a:lnTo>
                  <a:cubicBezTo>
                    <a:pt x="316889" y="-5488"/>
                    <a:pt x="400632" y="-9298"/>
                    <a:pt x="449015" y="19277"/>
                  </a:cubicBezTo>
                  <a:lnTo>
                    <a:pt x="873342" y="264832"/>
                  </a:lnTo>
                  <a:cubicBezTo>
                    <a:pt x="921440" y="292645"/>
                    <a:pt x="915451" y="341032"/>
                    <a:pt x="859844" y="373322"/>
                  </a:cubicBezTo>
                  <a:lnTo>
                    <a:pt x="644449" y="498004"/>
                  </a:lnTo>
                  <a:cubicBezTo>
                    <a:pt x="588937" y="529627"/>
                    <a:pt x="505193" y="533627"/>
                    <a:pt x="456810" y="505052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Google Shape;472;p15"/>
            <p:cNvSpPr/>
            <p:nvPr/>
          </p:nvSpPr>
          <p:spPr>
            <a:xfrm>
              <a:off x="2999385" y="3858955"/>
              <a:ext cx="906089" cy="910207"/>
            </a:xfrm>
            <a:custGeom>
              <a:avLst/>
              <a:gdLst/>
              <a:ahLst/>
              <a:cxnLst/>
              <a:rect l="l" t="t" r="r" b="b"/>
              <a:pathLst>
                <a:path w="906089" h="910207" extrusionOk="0">
                  <a:moveTo>
                    <a:pt x="906089" y="695706"/>
                  </a:moveTo>
                  <a:lnTo>
                    <a:pt x="906089" y="102203"/>
                  </a:lnTo>
                  <a:lnTo>
                    <a:pt x="23" y="0"/>
                  </a:lnTo>
                  <a:lnTo>
                    <a:pt x="23" y="597218"/>
                  </a:lnTo>
                  <a:lnTo>
                    <a:pt x="23" y="597218"/>
                  </a:lnTo>
                  <a:cubicBezTo>
                    <a:pt x="-547" y="615506"/>
                    <a:pt x="9528" y="632936"/>
                    <a:pt x="32342" y="645891"/>
                  </a:cubicBezTo>
                  <a:lnTo>
                    <a:pt x="456668" y="891445"/>
                  </a:lnTo>
                  <a:cubicBezTo>
                    <a:pt x="504766" y="919258"/>
                    <a:pt x="588795" y="915734"/>
                    <a:pt x="644307" y="883634"/>
                  </a:cubicBezTo>
                  <a:lnTo>
                    <a:pt x="859702" y="758952"/>
                  </a:lnTo>
                  <a:cubicBezTo>
                    <a:pt x="890975" y="740855"/>
                    <a:pt x="906565" y="717518"/>
                    <a:pt x="905614" y="6957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5"/>
            <p:cNvSpPr/>
            <p:nvPr/>
          </p:nvSpPr>
          <p:spPr>
            <a:xfrm>
              <a:off x="2999385" y="3718383"/>
              <a:ext cx="905566" cy="524522"/>
            </a:xfrm>
            <a:custGeom>
              <a:avLst/>
              <a:gdLst/>
              <a:ahLst/>
              <a:cxnLst/>
              <a:rect l="l" t="t" r="r" b="b"/>
              <a:pathLst>
                <a:path w="905566" h="524522" extrusionOk="0">
                  <a:moveTo>
                    <a:pt x="905519" y="307545"/>
                  </a:moveTo>
                  <a:lnTo>
                    <a:pt x="905519" y="242775"/>
                  </a:lnTo>
                  <a:lnTo>
                    <a:pt x="835843" y="242775"/>
                  </a:lnTo>
                  <a:lnTo>
                    <a:pt x="448874" y="18842"/>
                  </a:lnTo>
                  <a:cubicBezTo>
                    <a:pt x="400776" y="-9066"/>
                    <a:pt x="316747" y="-5542"/>
                    <a:pt x="261235" y="26557"/>
                  </a:cubicBezTo>
                  <a:lnTo>
                    <a:pt x="45839" y="151716"/>
                  </a:lnTo>
                  <a:cubicBezTo>
                    <a:pt x="42009" y="153897"/>
                    <a:pt x="38296" y="156279"/>
                    <a:pt x="34718" y="158860"/>
                  </a:cubicBezTo>
                  <a:lnTo>
                    <a:pt x="23" y="141048"/>
                  </a:lnTo>
                  <a:cubicBezTo>
                    <a:pt x="23" y="141048"/>
                    <a:pt x="23" y="209533"/>
                    <a:pt x="23" y="211819"/>
                  </a:cubicBezTo>
                  <a:lnTo>
                    <a:pt x="23" y="211819"/>
                  </a:lnTo>
                  <a:cubicBezTo>
                    <a:pt x="-547" y="229916"/>
                    <a:pt x="9528" y="247347"/>
                    <a:pt x="32342" y="260301"/>
                  </a:cubicBezTo>
                  <a:lnTo>
                    <a:pt x="456668" y="505760"/>
                  </a:lnTo>
                  <a:cubicBezTo>
                    <a:pt x="504766" y="533573"/>
                    <a:pt x="588795" y="530049"/>
                    <a:pt x="644307" y="497950"/>
                  </a:cubicBezTo>
                  <a:lnTo>
                    <a:pt x="859702" y="373363"/>
                  </a:lnTo>
                  <a:cubicBezTo>
                    <a:pt x="891926" y="354313"/>
                    <a:pt x="907230" y="330500"/>
                    <a:pt x="905424" y="308021"/>
                  </a:cubicBezTo>
                  <a:close/>
                </a:path>
              </a:pathLst>
            </a:custGeom>
            <a:solidFill>
              <a:srgbClr val="EDF0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Google Shape;474;p15"/>
            <p:cNvSpPr/>
            <p:nvPr/>
          </p:nvSpPr>
          <p:spPr>
            <a:xfrm>
              <a:off x="2999243" y="3647851"/>
              <a:ext cx="905825" cy="524031"/>
            </a:xfrm>
            <a:custGeom>
              <a:avLst/>
              <a:gdLst/>
              <a:ahLst/>
              <a:cxnLst/>
              <a:rect l="l" t="t" r="r" b="b"/>
              <a:pathLst>
                <a:path w="905825" h="524031" extrusionOk="0">
                  <a:moveTo>
                    <a:pt x="456810" y="505236"/>
                  </a:moveTo>
                  <a:lnTo>
                    <a:pt x="32483" y="259777"/>
                  </a:lnTo>
                  <a:cubicBezTo>
                    <a:pt x="-15615" y="231964"/>
                    <a:pt x="-9626" y="183577"/>
                    <a:pt x="45981" y="151192"/>
                  </a:cubicBezTo>
                  <a:lnTo>
                    <a:pt x="261376" y="26605"/>
                  </a:lnTo>
                  <a:cubicBezTo>
                    <a:pt x="316889" y="-5589"/>
                    <a:pt x="400917" y="-9018"/>
                    <a:pt x="449015" y="18795"/>
                  </a:cubicBezTo>
                  <a:lnTo>
                    <a:pt x="873342" y="264254"/>
                  </a:lnTo>
                  <a:cubicBezTo>
                    <a:pt x="921440" y="292067"/>
                    <a:pt x="915451" y="340454"/>
                    <a:pt x="859844" y="372839"/>
                  </a:cubicBezTo>
                  <a:lnTo>
                    <a:pt x="644449" y="497426"/>
                  </a:lnTo>
                  <a:cubicBezTo>
                    <a:pt x="588937" y="529620"/>
                    <a:pt x="504908" y="533050"/>
                    <a:pt x="456810" y="505236"/>
                  </a:cubicBezTo>
                  <a:close/>
                </a:path>
              </a:pathLst>
            </a:custGeom>
            <a:solidFill>
              <a:srgbClr val="E2E5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Google Shape;475;p15"/>
            <p:cNvSpPr/>
            <p:nvPr/>
          </p:nvSpPr>
          <p:spPr>
            <a:xfrm>
              <a:off x="3230772" y="3780524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293" y="12575"/>
                    <a:pt x="13716" y="14395"/>
                    <a:pt x="11312" y="16424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p15"/>
            <p:cNvSpPr/>
            <p:nvPr/>
          </p:nvSpPr>
          <p:spPr>
            <a:xfrm>
              <a:off x="3230772" y="3756847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8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8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15"/>
            <p:cNvSpPr/>
            <p:nvPr/>
          </p:nvSpPr>
          <p:spPr>
            <a:xfrm>
              <a:off x="3393243" y="3872036"/>
              <a:ext cx="129623" cy="74995"/>
            </a:xfrm>
            <a:custGeom>
              <a:avLst/>
              <a:gdLst/>
              <a:ahLst/>
              <a:cxnLst/>
              <a:rect l="l" t="t" r="r" b="b"/>
              <a:pathLst>
                <a:path w="129623" h="74995" extrusionOk="0">
                  <a:moveTo>
                    <a:pt x="128018" y="45689"/>
                  </a:moveTo>
                  <a:cubicBezTo>
                    <a:pt x="124482" y="53623"/>
                    <a:pt x="118341" y="60110"/>
                    <a:pt x="110623" y="64072"/>
                  </a:cubicBezTo>
                  <a:cubicBezTo>
                    <a:pt x="81812" y="78636"/>
                    <a:pt x="47801" y="78636"/>
                    <a:pt x="18990" y="64072"/>
                  </a:cubicBezTo>
                  <a:cubicBezTo>
                    <a:pt x="11271" y="60110"/>
                    <a:pt x="5131" y="53623"/>
                    <a:pt x="1595" y="45689"/>
                  </a:cubicBezTo>
                  <a:cubicBezTo>
                    <a:pt x="-3158" y="33497"/>
                    <a:pt x="2735" y="20448"/>
                    <a:pt x="18990" y="10923"/>
                  </a:cubicBezTo>
                  <a:cubicBezTo>
                    <a:pt x="47801" y="-3641"/>
                    <a:pt x="81812" y="-3641"/>
                    <a:pt x="110623" y="10923"/>
                  </a:cubicBezTo>
                  <a:cubicBezTo>
                    <a:pt x="126972" y="19971"/>
                    <a:pt x="132771" y="33021"/>
                    <a:pt x="128018" y="456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Google Shape;478;p15"/>
            <p:cNvSpPr/>
            <p:nvPr/>
          </p:nvSpPr>
          <p:spPr>
            <a:xfrm>
              <a:off x="3395112" y="3888323"/>
              <a:ext cx="126148" cy="58707"/>
            </a:xfrm>
            <a:custGeom>
              <a:avLst/>
              <a:gdLst/>
              <a:ahLst/>
              <a:cxnLst/>
              <a:rect l="l" t="t" r="r" b="b"/>
              <a:pathLst>
                <a:path w="126148" h="58707" extrusionOk="0">
                  <a:moveTo>
                    <a:pt x="126149" y="29401"/>
                  </a:moveTo>
                  <a:cubicBezTo>
                    <a:pt x="122613" y="37336"/>
                    <a:pt x="116472" y="43822"/>
                    <a:pt x="108754" y="47784"/>
                  </a:cubicBezTo>
                  <a:cubicBezTo>
                    <a:pt x="79942" y="62348"/>
                    <a:pt x="45932" y="62348"/>
                    <a:pt x="17120" y="47784"/>
                  </a:cubicBezTo>
                  <a:cubicBezTo>
                    <a:pt x="6959" y="47051"/>
                    <a:pt x="-683" y="38202"/>
                    <a:pt x="48" y="28030"/>
                  </a:cubicBezTo>
                  <a:cubicBezTo>
                    <a:pt x="704" y="18867"/>
                    <a:pt x="7976" y="11580"/>
                    <a:pt x="17120" y="10923"/>
                  </a:cubicBezTo>
                  <a:cubicBezTo>
                    <a:pt x="45932" y="-3641"/>
                    <a:pt x="79942" y="-3641"/>
                    <a:pt x="108754" y="10923"/>
                  </a:cubicBezTo>
                  <a:cubicBezTo>
                    <a:pt x="116491" y="14904"/>
                    <a:pt x="122632" y="21429"/>
                    <a:pt x="126149" y="29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Google Shape;479;p15"/>
            <p:cNvSpPr/>
            <p:nvPr/>
          </p:nvSpPr>
          <p:spPr>
            <a:xfrm>
              <a:off x="3543979" y="3964737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321" y="12585"/>
                    <a:pt x="13745" y="14366"/>
                    <a:pt x="11312" y="16328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Google Shape;480;p15"/>
            <p:cNvSpPr/>
            <p:nvPr/>
          </p:nvSpPr>
          <p:spPr>
            <a:xfrm>
              <a:off x="3543979" y="3941061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9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9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Google Shape;481;p15"/>
            <p:cNvSpPr/>
            <p:nvPr/>
          </p:nvSpPr>
          <p:spPr>
            <a:xfrm>
              <a:off x="5673026" y="4464079"/>
              <a:ext cx="468241" cy="270891"/>
            </a:xfrm>
            <a:custGeom>
              <a:avLst/>
              <a:gdLst/>
              <a:ahLst/>
              <a:cxnLst/>
              <a:rect l="l" t="t" r="r" b="b"/>
              <a:pathLst>
                <a:path w="468241" h="270891" extrusionOk="0">
                  <a:moveTo>
                    <a:pt x="468242" y="135445"/>
                  </a:moveTo>
                  <a:cubicBezTo>
                    <a:pt x="468242" y="210250"/>
                    <a:pt x="363422" y="270891"/>
                    <a:pt x="234121" y="270891"/>
                  </a:cubicBezTo>
                  <a:cubicBezTo>
                    <a:pt x="104819" y="270891"/>
                    <a:pt x="0" y="210250"/>
                    <a:pt x="0" y="135445"/>
                  </a:cubicBezTo>
                  <a:cubicBezTo>
                    <a:pt x="0" y="60641"/>
                    <a:pt x="104819" y="0"/>
                    <a:pt x="234121" y="0"/>
                  </a:cubicBezTo>
                  <a:cubicBezTo>
                    <a:pt x="363422" y="0"/>
                    <a:pt x="468242" y="60641"/>
                    <a:pt x="468242" y="1354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Google Shape;482;p15"/>
            <p:cNvSpPr/>
            <p:nvPr/>
          </p:nvSpPr>
          <p:spPr>
            <a:xfrm>
              <a:off x="5819482" y="3280817"/>
              <a:ext cx="243195" cy="356577"/>
            </a:xfrm>
            <a:custGeom>
              <a:avLst/>
              <a:gdLst/>
              <a:ahLst/>
              <a:cxnLst/>
              <a:rect l="l" t="t" r="r" b="b"/>
              <a:pathLst>
                <a:path w="243195" h="356577" extrusionOk="0">
                  <a:moveTo>
                    <a:pt x="85669" y="11781"/>
                  </a:moveTo>
                  <a:cubicBezTo>
                    <a:pt x="95174" y="-3744"/>
                    <a:pt x="169318" y="-14031"/>
                    <a:pt x="193652" y="48738"/>
                  </a:cubicBezTo>
                  <a:cubicBezTo>
                    <a:pt x="203157" y="72551"/>
                    <a:pt x="201446" y="133416"/>
                    <a:pt x="209145" y="171611"/>
                  </a:cubicBezTo>
                  <a:cubicBezTo>
                    <a:pt x="216845" y="209806"/>
                    <a:pt x="235000" y="231523"/>
                    <a:pt x="241559" y="262479"/>
                  </a:cubicBezTo>
                  <a:cubicBezTo>
                    <a:pt x="248118" y="293436"/>
                    <a:pt x="237472" y="345442"/>
                    <a:pt x="162854" y="354681"/>
                  </a:cubicBezTo>
                  <a:cubicBezTo>
                    <a:pt x="88236" y="363921"/>
                    <a:pt x="30917" y="337632"/>
                    <a:pt x="13332" y="313819"/>
                  </a:cubicBezTo>
                  <a:cubicBezTo>
                    <a:pt x="-4253" y="290007"/>
                    <a:pt x="-4634" y="239334"/>
                    <a:pt x="13332" y="212092"/>
                  </a:cubicBezTo>
                  <a:cubicBezTo>
                    <a:pt x="31297" y="184851"/>
                    <a:pt x="45556" y="162848"/>
                    <a:pt x="45080" y="127415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15"/>
            <p:cNvSpPr/>
            <p:nvPr/>
          </p:nvSpPr>
          <p:spPr>
            <a:xfrm>
              <a:off x="5837923" y="3277536"/>
              <a:ext cx="116085" cy="143945"/>
            </a:xfrm>
            <a:custGeom>
              <a:avLst/>
              <a:gdLst/>
              <a:ahLst/>
              <a:cxnLst/>
              <a:rect l="l" t="t" r="r" b="b"/>
              <a:pathLst>
                <a:path w="116085" h="143945" extrusionOk="0">
                  <a:moveTo>
                    <a:pt x="116086" y="4300"/>
                  </a:moveTo>
                  <a:cubicBezTo>
                    <a:pt x="116086" y="4300"/>
                    <a:pt x="60383" y="-11798"/>
                    <a:pt x="26639" y="18301"/>
                  </a:cubicBezTo>
                  <a:cubicBezTo>
                    <a:pt x="3978" y="39285"/>
                    <a:pt x="-5176" y="71137"/>
                    <a:pt x="2875" y="100979"/>
                  </a:cubicBezTo>
                  <a:cubicBezTo>
                    <a:pt x="7343" y="118600"/>
                    <a:pt x="16373" y="142603"/>
                    <a:pt x="30346" y="143936"/>
                  </a:cubicBezTo>
                  <a:cubicBezTo>
                    <a:pt x="44319" y="145270"/>
                    <a:pt x="116086" y="4300"/>
                    <a:pt x="116086" y="4300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15"/>
            <p:cNvSpPr/>
            <p:nvPr/>
          </p:nvSpPr>
          <p:spPr>
            <a:xfrm>
              <a:off x="5860663" y="3433950"/>
              <a:ext cx="143677" cy="161015"/>
            </a:xfrm>
            <a:custGeom>
              <a:avLst/>
              <a:gdLst/>
              <a:ahLst/>
              <a:cxnLst/>
              <a:rect l="l" t="t" r="r" b="b"/>
              <a:pathLst>
                <a:path w="143677" h="161015" extrusionOk="0">
                  <a:moveTo>
                    <a:pt x="114638" y="0"/>
                  </a:moveTo>
                  <a:cubicBezTo>
                    <a:pt x="114638" y="0"/>
                    <a:pt x="110931" y="62103"/>
                    <a:pt x="112072" y="66675"/>
                  </a:cubicBezTo>
                  <a:cubicBezTo>
                    <a:pt x="113212" y="71247"/>
                    <a:pt x="136406" y="76200"/>
                    <a:pt x="142965" y="81153"/>
                  </a:cubicBezTo>
                  <a:cubicBezTo>
                    <a:pt x="149524" y="86106"/>
                    <a:pt x="109220" y="149638"/>
                    <a:pt x="88783" y="158972"/>
                  </a:cubicBezTo>
                  <a:cubicBezTo>
                    <a:pt x="68346" y="168307"/>
                    <a:pt x="4944" y="144399"/>
                    <a:pt x="477" y="112871"/>
                  </a:cubicBezTo>
                  <a:cubicBezTo>
                    <a:pt x="-3515" y="83725"/>
                    <a:pt x="18632" y="61151"/>
                    <a:pt x="27187" y="53245"/>
                  </a:cubicBezTo>
                  <a:cubicBezTo>
                    <a:pt x="32995" y="52692"/>
                    <a:pt x="38841" y="52531"/>
                    <a:pt x="44678" y="52769"/>
                  </a:cubicBezTo>
                  <a:lnTo>
                    <a:pt x="46579" y="22670"/>
                  </a:lnTo>
                  <a:cubicBezTo>
                    <a:pt x="74335" y="13811"/>
                    <a:pt x="114638" y="0"/>
                    <a:pt x="114638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15"/>
            <p:cNvSpPr/>
            <p:nvPr/>
          </p:nvSpPr>
          <p:spPr>
            <a:xfrm>
              <a:off x="5729287" y="3551002"/>
              <a:ext cx="121787" cy="284211"/>
            </a:xfrm>
            <a:custGeom>
              <a:avLst/>
              <a:gdLst/>
              <a:ahLst/>
              <a:cxnLst/>
              <a:rect l="l" t="t" r="r" b="b"/>
              <a:pathLst>
                <a:path w="121787" h="284211" extrusionOk="0">
                  <a:moveTo>
                    <a:pt x="96303" y="391"/>
                  </a:moveTo>
                  <a:cubicBezTo>
                    <a:pt x="96303" y="-1418"/>
                    <a:pt x="86797" y="3630"/>
                    <a:pt x="86797" y="3725"/>
                  </a:cubicBezTo>
                  <a:cubicBezTo>
                    <a:pt x="86797" y="3820"/>
                    <a:pt x="82330" y="163269"/>
                    <a:pt x="74535" y="177747"/>
                  </a:cubicBezTo>
                  <a:lnTo>
                    <a:pt x="74535" y="177747"/>
                  </a:lnTo>
                  <a:cubicBezTo>
                    <a:pt x="54669" y="211560"/>
                    <a:pt x="2103" y="268901"/>
                    <a:pt x="772" y="275283"/>
                  </a:cubicBezTo>
                  <a:cubicBezTo>
                    <a:pt x="-3125" y="294333"/>
                    <a:pt x="8092" y="277283"/>
                    <a:pt x="26152" y="275283"/>
                  </a:cubicBezTo>
                  <a:cubicBezTo>
                    <a:pt x="36323" y="274044"/>
                    <a:pt x="96113" y="213466"/>
                    <a:pt x="109516" y="199654"/>
                  </a:cubicBezTo>
                  <a:lnTo>
                    <a:pt x="110371" y="200131"/>
                  </a:lnTo>
                  <a:lnTo>
                    <a:pt x="110371" y="198607"/>
                  </a:lnTo>
                  <a:lnTo>
                    <a:pt x="112082" y="196797"/>
                  </a:lnTo>
                  <a:cubicBezTo>
                    <a:pt x="112424" y="192482"/>
                    <a:pt x="112424" y="188158"/>
                    <a:pt x="112082" y="183843"/>
                  </a:cubicBezTo>
                  <a:cubicBezTo>
                    <a:pt x="137272" y="10583"/>
                    <a:pt x="106664" y="-942"/>
                    <a:pt x="96303" y="39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15"/>
            <p:cNvSpPr/>
            <p:nvPr/>
          </p:nvSpPr>
          <p:spPr>
            <a:xfrm>
              <a:off x="5818929" y="3486611"/>
              <a:ext cx="209320" cy="241045"/>
            </a:xfrm>
            <a:custGeom>
              <a:avLst/>
              <a:gdLst/>
              <a:ahLst/>
              <a:cxnLst/>
              <a:rect l="l" t="t" r="r" b="b"/>
              <a:pathLst>
                <a:path w="209320" h="241045" extrusionOk="0">
                  <a:moveTo>
                    <a:pt x="164832" y="20110"/>
                  </a:moveTo>
                  <a:cubicBezTo>
                    <a:pt x="182322" y="22777"/>
                    <a:pt x="202189" y="32111"/>
                    <a:pt x="204945" y="41636"/>
                  </a:cubicBezTo>
                  <a:cubicBezTo>
                    <a:pt x="212141" y="76098"/>
                    <a:pt x="210439" y="111835"/>
                    <a:pt x="200002" y="145459"/>
                  </a:cubicBezTo>
                  <a:cubicBezTo>
                    <a:pt x="184889" y="185464"/>
                    <a:pt x="174718" y="210895"/>
                    <a:pt x="165973" y="228136"/>
                  </a:cubicBezTo>
                  <a:cubicBezTo>
                    <a:pt x="165973" y="228136"/>
                    <a:pt x="90594" y="260521"/>
                    <a:pt x="29758" y="222706"/>
                  </a:cubicBezTo>
                  <a:cubicBezTo>
                    <a:pt x="29758" y="222706"/>
                    <a:pt x="25576" y="179844"/>
                    <a:pt x="25291" y="156889"/>
                  </a:cubicBezTo>
                  <a:cubicBezTo>
                    <a:pt x="-30792" y="107835"/>
                    <a:pt x="17211" y="47351"/>
                    <a:pt x="64739" y="393"/>
                  </a:cubicBezTo>
                  <a:cubicBezTo>
                    <a:pt x="70433" y="-131"/>
                    <a:pt x="76155" y="-131"/>
                    <a:pt x="81849" y="393"/>
                  </a:cubicBezTo>
                  <a:cubicBezTo>
                    <a:pt x="81849" y="393"/>
                    <a:pt x="39454" y="50685"/>
                    <a:pt x="68921" y="79260"/>
                  </a:cubicBezTo>
                  <a:cubicBezTo>
                    <a:pt x="132133" y="59638"/>
                    <a:pt x="144680" y="31063"/>
                    <a:pt x="164832" y="2011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15"/>
            <p:cNvSpPr/>
            <p:nvPr/>
          </p:nvSpPr>
          <p:spPr>
            <a:xfrm>
              <a:off x="5856166" y="3289038"/>
              <a:ext cx="154042" cy="190250"/>
            </a:xfrm>
            <a:custGeom>
              <a:avLst/>
              <a:gdLst/>
              <a:ahLst/>
              <a:cxnLst/>
              <a:rect l="l" t="t" r="r" b="b"/>
              <a:pathLst>
                <a:path w="154042" h="190250" extrusionOk="0">
                  <a:moveTo>
                    <a:pt x="3263" y="67854"/>
                  </a:moveTo>
                  <a:lnTo>
                    <a:pt x="3263" y="67854"/>
                  </a:lnTo>
                  <a:cubicBezTo>
                    <a:pt x="9442" y="27945"/>
                    <a:pt x="38244" y="-2250"/>
                    <a:pt x="79308" y="132"/>
                  </a:cubicBezTo>
                  <a:cubicBezTo>
                    <a:pt x="122872" y="2484"/>
                    <a:pt x="156274" y="39784"/>
                    <a:pt x="153926" y="83437"/>
                  </a:cubicBezTo>
                  <a:cubicBezTo>
                    <a:pt x="152586" y="108288"/>
                    <a:pt x="139668" y="131053"/>
                    <a:pt x="119041" y="144912"/>
                  </a:cubicBezTo>
                  <a:cubicBezTo>
                    <a:pt x="117624" y="150960"/>
                    <a:pt x="115486" y="156808"/>
                    <a:pt x="112672" y="162342"/>
                  </a:cubicBezTo>
                  <a:cubicBezTo>
                    <a:pt x="98129" y="179297"/>
                    <a:pt x="59441" y="190060"/>
                    <a:pt x="46704" y="190251"/>
                  </a:cubicBezTo>
                  <a:cubicBezTo>
                    <a:pt x="35677" y="190251"/>
                    <a:pt x="26172" y="180059"/>
                    <a:pt x="15811" y="162914"/>
                  </a:cubicBezTo>
                  <a:cubicBezTo>
                    <a:pt x="-5672" y="127195"/>
                    <a:pt x="-158" y="87571"/>
                    <a:pt x="3263" y="67854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15"/>
            <p:cNvSpPr/>
            <p:nvPr/>
          </p:nvSpPr>
          <p:spPr>
            <a:xfrm>
              <a:off x="5862376" y="3287995"/>
              <a:ext cx="154704" cy="145954"/>
            </a:xfrm>
            <a:custGeom>
              <a:avLst/>
              <a:gdLst/>
              <a:ahLst/>
              <a:cxnLst/>
              <a:rect l="l" t="t" r="r" b="b"/>
              <a:pathLst>
                <a:path w="154704" h="145954" extrusionOk="0">
                  <a:moveTo>
                    <a:pt x="85930" y="1937"/>
                  </a:moveTo>
                  <a:cubicBezTo>
                    <a:pt x="114447" y="7557"/>
                    <a:pt x="138400" y="15748"/>
                    <a:pt x="146290" y="44038"/>
                  </a:cubicBezTo>
                  <a:cubicBezTo>
                    <a:pt x="151613" y="63659"/>
                    <a:pt x="158647" y="101188"/>
                    <a:pt x="151993" y="116523"/>
                  </a:cubicBezTo>
                  <a:lnTo>
                    <a:pt x="147811" y="127857"/>
                  </a:lnTo>
                  <a:lnTo>
                    <a:pt x="112926" y="145955"/>
                  </a:lnTo>
                  <a:cubicBezTo>
                    <a:pt x="112926" y="145955"/>
                    <a:pt x="96576" y="132334"/>
                    <a:pt x="101709" y="92424"/>
                  </a:cubicBezTo>
                  <a:cubicBezTo>
                    <a:pt x="101510" y="87043"/>
                    <a:pt x="99798" y="81823"/>
                    <a:pt x="96766" y="77375"/>
                  </a:cubicBezTo>
                  <a:cubicBezTo>
                    <a:pt x="94580" y="73594"/>
                    <a:pt x="92954" y="69517"/>
                    <a:pt x="91919" y="65278"/>
                  </a:cubicBezTo>
                  <a:cubicBezTo>
                    <a:pt x="87774" y="54496"/>
                    <a:pt x="79685" y="45704"/>
                    <a:pt x="69295" y="40704"/>
                  </a:cubicBezTo>
                  <a:cubicBezTo>
                    <a:pt x="43345" y="26130"/>
                    <a:pt x="5323" y="38704"/>
                    <a:pt x="0" y="44038"/>
                  </a:cubicBezTo>
                  <a:cubicBezTo>
                    <a:pt x="15142" y="11452"/>
                    <a:pt x="50959" y="-6102"/>
                    <a:pt x="85930" y="193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15"/>
            <p:cNvSpPr/>
            <p:nvPr/>
          </p:nvSpPr>
          <p:spPr>
            <a:xfrm>
              <a:off x="5888298" y="4552945"/>
              <a:ext cx="121626" cy="93085"/>
            </a:xfrm>
            <a:custGeom>
              <a:avLst/>
              <a:gdLst/>
              <a:ahLst/>
              <a:cxnLst/>
              <a:rect l="l" t="t" r="r" b="b"/>
              <a:pathLst>
                <a:path w="121626" h="93085" extrusionOk="0">
                  <a:moveTo>
                    <a:pt x="112478" y="2"/>
                  </a:moveTo>
                  <a:cubicBezTo>
                    <a:pt x="97840" y="11908"/>
                    <a:pt x="75121" y="3717"/>
                    <a:pt x="74456" y="4765"/>
                  </a:cubicBezTo>
                  <a:cubicBezTo>
                    <a:pt x="57422" y="19395"/>
                    <a:pt x="39590" y="33073"/>
                    <a:pt x="21035" y="45722"/>
                  </a:cubicBezTo>
                  <a:cubicBezTo>
                    <a:pt x="11529" y="52866"/>
                    <a:pt x="-2254" y="62486"/>
                    <a:pt x="313" y="76202"/>
                  </a:cubicBezTo>
                  <a:cubicBezTo>
                    <a:pt x="4875" y="100872"/>
                    <a:pt x="44228" y="93347"/>
                    <a:pt x="59057" y="85727"/>
                  </a:cubicBezTo>
                  <a:cubicBezTo>
                    <a:pt x="73886" y="78107"/>
                    <a:pt x="86053" y="65725"/>
                    <a:pt x="100121" y="57152"/>
                  </a:cubicBezTo>
                  <a:cubicBezTo>
                    <a:pt x="110102" y="50961"/>
                    <a:pt x="119987" y="47627"/>
                    <a:pt x="121604" y="35054"/>
                  </a:cubicBezTo>
                  <a:cubicBezTo>
                    <a:pt x="122079" y="27149"/>
                    <a:pt x="115045" y="-284"/>
                    <a:pt x="11247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15"/>
            <p:cNvSpPr/>
            <p:nvPr/>
          </p:nvSpPr>
          <p:spPr>
            <a:xfrm>
              <a:off x="5888421" y="4582665"/>
              <a:ext cx="121131" cy="63346"/>
            </a:xfrm>
            <a:custGeom>
              <a:avLst/>
              <a:gdLst/>
              <a:ahLst/>
              <a:cxnLst/>
              <a:rect l="l" t="t" r="r" b="b"/>
              <a:pathLst>
                <a:path w="121131" h="63346" extrusionOk="0">
                  <a:moveTo>
                    <a:pt x="120910" y="0"/>
                  </a:moveTo>
                  <a:cubicBezTo>
                    <a:pt x="118914" y="12192"/>
                    <a:pt x="109219" y="15526"/>
                    <a:pt x="99238" y="21717"/>
                  </a:cubicBezTo>
                  <a:cubicBezTo>
                    <a:pt x="84979" y="30575"/>
                    <a:pt x="72432" y="43434"/>
                    <a:pt x="57604" y="50959"/>
                  </a:cubicBezTo>
                  <a:cubicBezTo>
                    <a:pt x="42775" y="58484"/>
                    <a:pt x="9601" y="64770"/>
                    <a:pt x="0" y="47244"/>
                  </a:cubicBezTo>
                  <a:cubicBezTo>
                    <a:pt x="5228" y="70961"/>
                    <a:pt x="43916" y="63532"/>
                    <a:pt x="58554" y="56007"/>
                  </a:cubicBezTo>
                  <a:cubicBezTo>
                    <a:pt x="73193" y="48482"/>
                    <a:pt x="85550" y="36004"/>
                    <a:pt x="99618" y="27432"/>
                  </a:cubicBezTo>
                  <a:cubicBezTo>
                    <a:pt x="109599" y="21241"/>
                    <a:pt x="119484" y="17907"/>
                    <a:pt x="121101" y="5334"/>
                  </a:cubicBezTo>
                  <a:cubicBezTo>
                    <a:pt x="121177" y="3553"/>
                    <a:pt x="121110" y="1772"/>
                    <a:pt x="12091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15"/>
            <p:cNvSpPr/>
            <p:nvPr/>
          </p:nvSpPr>
          <p:spPr>
            <a:xfrm>
              <a:off x="5795742" y="4532466"/>
              <a:ext cx="111395" cy="86487"/>
            </a:xfrm>
            <a:custGeom>
              <a:avLst/>
              <a:gdLst/>
              <a:ahLst/>
              <a:cxnLst/>
              <a:rect l="l" t="t" r="r" b="b"/>
              <a:pathLst>
                <a:path w="111395" h="86487" extrusionOk="0">
                  <a:moveTo>
                    <a:pt x="102659" y="2"/>
                  </a:moveTo>
                  <a:cubicBezTo>
                    <a:pt x="89257" y="10956"/>
                    <a:pt x="69105" y="4765"/>
                    <a:pt x="68154" y="5812"/>
                  </a:cubicBezTo>
                  <a:cubicBezTo>
                    <a:pt x="52537" y="19109"/>
                    <a:pt x="36225" y="31578"/>
                    <a:pt x="19296" y="43151"/>
                  </a:cubicBezTo>
                  <a:cubicBezTo>
                    <a:pt x="10931" y="49723"/>
                    <a:pt x="-2091" y="58486"/>
                    <a:pt x="285" y="71059"/>
                  </a:cubicBezTo>
                  <a:cubicBezTo>
                    <a:pt x="4467" y="93633"/>
                    <a:pt x="40493" y="86680"/>
                    <a:pt x="54181" y="79822"/>
                  </a:cubicBezTo>
                  <a:cubicBezTo>
                    <a:pt x="67869" y="72964"/>
                    <a:pt x="78800" y="61438"/>
                    <a:pt x="91728" y="53437"/>
                  </a:cubicBezTo>
                  <a:cubicBezTo>
                    <a:pt x="101234" y="47722"/>
                    <a:pt x="109884" y="44770"/>
                    <a:pt x="111309" y="33149"/>
                  </a:cubicBezTo>
                  <a:cubicBezTo>
                    <a:pt x="112260" y="26101"/>
                    <a:pt x="105036" y="-283"/>
                    <a:pt x="102659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15"/>
            <p:cNvSpPr/>
            <p:nvPr/>
          </p:nvSpPr>
          <p:spPr>
            <a:xfrm>
              <a:off x="5796313" y="4560948"/>
              <a:ext cx="110894" cy="58013"/>
            </a:xfrm>
            <a:custGeom>
              <a:avLst/>
              <a:gdLst/>
              <a:ahLst/>
              <a:cxnLst/>
              <a:rect l="l" t="t" r="r" b="b"/>
              <a:pathLst>
                <a:path w="110894" h="58013" extrusionOk="0">
                  <a:moveTo>
                    <a:pt x="110644" y="0"/>
                  </a:moveTo>
                  <a:cubicBezTo>
                    <a:pt x="108838" y="11144"/>
                    <a:pt x="99903" y="14192"/>
                    <a:pt x="90778" y="19812"/>
                  </a:cubicBezTo>
                  <a:cubicBezTo>
                    <a:pt x="77755" y="28004"/>
                    <a:pt x="66254" y="39719"/>
                    <a:pt x="52756" y="46672"/>
                  </a:cubicBezTo>
                  <a:cubicBezTo>
                    <a:pt x="39258" y="53626"/>
                    <a:pt x="8840" y="59341"/>
                    <a:pt x="0" y="43244"/>
                  </a:cubicBezTo>
                  <a:cubicBezTo>
                    <a:pt x="4753" y="64961"/>
                    <a:pt x="40208" y="58198"/>
                    <a:pt x="53706" y="51340"/>
                  </a:cubicBezTo>
                  <a:cubicBezTo>
                    <a:pt x="67204" y="44482"/>
                    <a:pt x="78325" y="32956"/>
                    <a:pt x="91253" y="24955"/>
                  </a:cubicBezTo>
                  <a:cubicBezTo>
                    <a:pt x="100758" y="19240"/>
                    <a:pt x="109408" y="16288"/>
                    <a:pt x="110834" y="4667"/>
                  </a:cubicBezTo>
                  <a:cubicBezTo>
                    <a:pt x="110958" y="3105"/>
                    <a:pt x="110891" y="1543"/>
                    <a:pt x="11064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15"/>
            <p:cNvSpPr/>
            <p:nvPr/>
          </p:nvSpPr>
          <p:spPr>
            <a:xfrm>
              <a:off x="5813683" y="3728558"/>
              <a:ext cx="237954" cy="833275"/>
            </a:xfrm>
            <a:custGeom>
              <a:avLst/>
              <a:gdLst/>
              <a:ahLst/>
              <a:cxnLst/>
              <a:rect l="l" t="t" r="r" b="b"/>
              <a:pathLst>
                <a:path w="237954" h="833275" extrusionOk="0">
                  <a:moveTo>
                    <a:pt x="6013" y="123825"/>
                  </a:moveTo>
                  <a:cubicBezTo>
                    <a:pt x="12477" y="73342"/>
                    <a:pt x="31013" y="0"/>
                    <a:pt x="31013" y="0"/>
                  </a:cubicBezTo>
                  <a:cubicBezTo>
                    <a:pt x="48541" y="8201"/>
                    <a:pt x="67495" y="12897"/>
                    <a:pt x="86810" y="13811"/>
                  </a:cubicBezTo>
                  <a:cubicBezTo>
                    <a:pt x="115136" y="13716"/>
                    <a:pt x="143396" y="10973"/>
                    <a:pt x="171219" y="5620"/>
                  </a:cubicBezTo>
                  <a:cubicBezTo>
                    <a:pt x="180287" y="21517"/>
                    <a:pt x="190220" y="36909"/>
                    <a:pt x="200971" y="51721"/>
                  </a:cubicBezTo>
                  <a:cubicBezTo>
                    <a:pt x="215515" y="71914"/>
                    <a:pt x="243746" y="116109"/>
                    <a:pt x="236902" y="193357"/>
                  </a:cubicBezTo>
                  <a:cubicBezTo>
                    <a:pt x="232435" y="243840"/>
                    <a:pt x="204203" y="458248"/>
                    <a:pt x="204203" y="458248"/>
                  </a:cubicBezTo>
                  <a:cubicBezTo>
                    <a:pt x="215201" y="494290"/>
                    <a:pt x="221056" y="531714"/>
                    <a:pt x="221598" y="569405"/>
                  </a:cubicBezTo>
                  <a:cubicBezTo>
                    <a:pt x="218937" y="614229"/>
                    <a:pt x="213024" y="658796"/>
                    <a:pt x="203918" y="702755"/>
                  </a:cubicBezTo>
                  <a:lnTo>
                    <a:pt x="187093" y="824389"/>
                  </a:lnTo>
                  <a:cubicBezTo>
                    <a:pt x="187093" y="824389"/>
                    <a:pt x="164660" y="840676"/>
                    <a:pt x="149071" y="829151"/>
                  </a:cubicBezTo>
                  <a:lnTo>
                    <a:pt x="151067" y="710089"/>
                  </a:lnTo>
                  <a:cubicBezTo>
                    <a:pt x="149166" y="680942"/>
                    <a:pt x="146219" y="637984"/>
                    <a:pt x="144413" y="610552"/>
                  </a:cubicBezTo>
                  <a:cubicBezTo>
                    <a:pt x="141371" y="565785"/>
                    <a:pt x="133387" y="494824"/>
                    <a:pt x="131106" y="477202"/>
                  </a:cubicBezTo>
                  <a:cubicBezTo>
                    <a:pt x="128824" y="459581"/>
                    <a:pt x="123121" y="428434"/>
                    <a:pt x="120364" y="393763"/>
                  </a:cubicBezTo>
                  <a:cubicBezTo>
                    <a:pt x="117608" y="359092"/>
                    <a:pt x="104680" y="182594"/>
                    <a:pt x="104680" y="182594"/>
                  </a:cubicBezTo>
                  <a:lnTo>
                    <a:pt x="102874" y="215646"/>
                  </a:lnTo>
                  <a:cubicBezTo>
                    <a:pt x="102874" y="215646"/>
                    <a:pt x="101068" y="269272"/>
                    <a:pt x="93369" y="335470"/>
                  </a:cubicBezTo>
                  <a:cubicBezTo>
                    <a:pt x="85669" y="401669"/>
                    <a:pt x="83008" y="430720"/>
                    <a:pt x="83008" y="430720"/>
                  </a:cubicBezTo>
                  <a:cubicBezTo>
                    <a:pt x="90308" y="444074"/>
                    <a:pt x="95412" y="458514"/>
                    <a:pt x="98121" y="473488"/>
                  </a:cubicBezTo>
                  <a:cubicBezTo>
                    <a:pt x="99452" y="487775"/>
                    <a:pt x="115707" y="600932"/>
                    <a:pt x="106011" y="658463"/>
                  </a:cubicBezTo>
                  <a:lnTo>
                    <a:pt x="85954" y="804863"/>
                  </a:lnTo>
                  <a:cubicBezTo>
                    <a:pt x="75869" y="811882"/>
                    <a:pt x="63018" y="813587"/>
                    <a:pt x="51449" y="809434"/>
                  </a:cubicBezTo>
                  <a:lnTo>
                    <a:pt x="39663" y="661892"/>
                  </a:lnTo>
                  <a:cubicBezTo>
                    <a:pt x="31773" y="605790"/>
                    <a:pt x="15043" y="486823"/>
                    <a:pt x="12477" y="471392"/>
                  </a:cubicBezTo>
                  <a:cubicBezTo>
                    <a:pt x="6773" y="440226"/>
                    <a:pt x="3408" y="408670"/>
                    <a:pt x="2401" y="376999"/>
                  </a:cubicBezTo>
                  <a:cubicBezTo>
                    <a:pt x="-1782" y="312991"/>
                    <a:pt x="-451" y="174212"/>
                    <a:pt x="6013" y="12382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15"/>
            <p:cNvSpPr/>
            <p:nvPr/>
          </p:nvSpPr>
          <p:spPr>
            <a:xfrm>
              <a:off x="5803516" y="3708175"/>
              <a:ext cx="253612" cy="553963"/>
            </a:xfrm>
            <a:custGeom>
              <a:avLst/>
              <a:gdLst/>
              <a:ahLst/>
              <a:cxnLst/>
              <a:rect l="l" t="t" r="r" b="b"/>
              <a:pathLst>
                <a:path w="253612" h="553963" extrusionOk="0">
                  <a:moveTo>
                    <a:pt x="181386" y="6572"/>
                  </a:moveTo>
                  <a:lnTo>
                    <a:pt x="224731" y="93726"/>
                  </a:lnTo>
                  <a:cubicBezTo>
                    <a:pt x="224731" y="93726"/>
                    <a:pt x="291270" y="190690"/>
                    <a:pt x="222355" y="439960"/>
                  </a:cubicBezTo>
                  <a:lnTo>
                    <a:pt x="235187" y="516922"/>
                  </a:lnTo>
                  <a:cubicBezTo>
                    <a:pt x="235187" y="516922"/>
                    <a:pt x="105532" y="600265"/>
                    <a:pt x="18746" y="516922"/>
                  </a:cubicBezTo>
                  <a:cubicBezTo>
                    <a:pt x="18746" y="516922"/>
                    <a:pt x="-11291" y="286512"/>
                    <a:pt x="4678" y="180308"/>
                  </a:cubicBezTo>
                  <a:cubicBezTo>
                    <a:pt x="13613" y="119272"/>
                    <a:pt x="27121" y="59007"/>
                    <a:pt x="45077" y="0"/>
                  </a:cubicBezTo>
                  <a:cubicBezTo>
                    <a:pt x="45077" y="0"/>
                    <a:pt x="66369" y="23527"/>
                    <a:pt x="175683" y="8001"/>
                  </a:cubicBezTo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p15"/>
            <p:cNvSpPr/>
            <p:nvPr/>
          </p:nvSpPr>
          <p:spPr>
            <a:xfrm>
              <a:off x="5812662" y="3486508"/>
              <a:ext cx="71005" cy="74600"/>
            </a:xfrm>
            <a:custGeom>
              <a:avLst/>
              <a:gdLst/>
              <a:ahLst/>
              <a:cxnLst/>
              <a:rect l="l" t="t" r="r" b="b"/>
              <a:pathLst>
                <a:path w="71005" h="74600" extrusionOk="0">
                  <a:moveTo>
                    <a:pt x="71006" y="496"/>
                  </a:moveTo>
                  <a:cubicBezTo>
                    <a:pt x="71006" y="496"/>
                    <a:pt x="36596" y="-10077"/>
                    <a:pt x="0" y="66409"/>
                  </a:cubicBezTo>
                  <a:lnTo>
                    <a:pt x="13688" y="74600"/>
                  </a:lnTo>
                  <a:cubicBezTo>
                    <a:pt x="13688" y="74600"/>
                    <a:pt x="49714" y="20117"/>
                    <a:pt x="71006" y="49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15"/>
            <p:cNvSpPr/>
            <p:nvPr/>
          </p:nvSpPr>
          <p:spPr>
            <a:xfrm>
              <a:off x="5614947" y="3815235"/>
              <a:ext cx="254367" cy="147732"/>
            </a:xfrm>
            <a:custGeom>
              <a:avLst/>
              <a:gdLst/>
              <a:ahLst/>
              <a:cxnLst/>
              <a:rect l="l" t="t" r="r" b="b"/>
              <a:pathLst>
                <a:path w="254367" h="147732" extrusionOk="0">
                  <a:moveTo>
                    <a:pt x="0" y="86201"/>
                  </a:moveTo>
                  <a:lnTo>
                    <a:pt x="148096" y="0"/>
                  </a:lnTo>
                  <a:lnTo>
                    <a:pt x="254368" y="61436"/>
                  </a:lnTo>
                  <a:lnTo>
                    <a:pt x="106272" y="147733"/>
                  </a:lnTo>
                  <a:lnTo>
                    <a:pt x="0" y="8620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15"/>
            <p:cNvSpPr/>
            <p:nvPr/>
          </p:nvSpPr>
          <p:spPr>
            <a:xfrm>
              <a:off x="5694413" y="3821487"/>
              <a:ext cx="53706" cy="44771"/>
            </a:xfrm>
            <a:custGeom>
              <a:avLst/>
              <a:gdLst/>
              <a:ahLst/>
              <a:cxnLst/>
              <a:rect l="l" t="t" r="r" b="b"/>
              <a:pathLst>
                <a:path w="53706" h="44771" extrusionOk="0">
                  <a:moveTo>
                    <a:pt x="49524" y="35"/>
                  </a:moveTo>
                  <a:cubicBezTo>
                    <a:pt x="40237" y="968"/>
                    <a:pt x="31254" y="3892"/>
                    <a:pt x="23194" y="8607"/>
                  </a:cubicBezTo>
                  <a:cubicBezTo>
                    <a:pt x="20228" y="11198"/>
                    <a:pt x="17053" y="13522"/>
                    <a:pt x="13688" y="15561"/>
                  </a:cubicBezTo>
                  <a:cubicBezTo>
                    <a:pt x="12262" y="16227"/>
                    <a:pt x="10836" y="17180"/>
                    <a:pt x="9315" y="17846"/>
                  </a:cubicBezTo>
                  <a:cubicBezTo>
                    <a:pt x="7053" y="18675"/>
                    <a:pt x="5000" y="20009"/>
                    <a:pt x="3327" y="21752"/>
                  </a:cubicBezTo>
                  <a:cubicBezTo>
                    <a:pt x="1673" y="24200"/>
                    <a:pt x="780" y="27086"/>
                    <a:pt x="760" y="30038"/>
                  </a:cubicBezTo>
                  <a:cubicBezTo>
                    <a:pt x="0" y="33572"/>
                    <a:pt x="-190" y="37211"/>
                    <a:pt x="190" y="40802"/>
                  </a:cubicBezTo>
                  <a:cubicBezTo>
                    <a:pt x="1521" y="46136"/>
                    <a:pt x="7034" y="45660"/>
                    <a:pt x="9696" y="41945"/>
                  </a:cubicBezTo>
                  <a:cubicBezTo>
                    <a:pt x="11141" y="40088"/>
                    <a:pt x="11968" y="37821"/>
                    <a:pt x="12072" y="35468"/>
                  </a:cubicBezTo>
                  <a:cubicBezTo>
                    <a:pt x="12234" y="30905"/>
                    <a:pt x="14562" y="26686"/>
                    <a:pt x="18346" y="24133"/>
                  </a:cubicBezTo>
                  <a:lnTo>
                    <a:pt x="53706" y="2130"/>
                  </a:lnTo>
                  <a:cubicBezTo>
                    <a:pt x="52870" y="644"/>
                    <a:pt x="51216" y="-184"/>
                    <a:pt x="49524" y="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15"/>
            <p:cNvSpPr/>
            <p:nvPr/>
          </p:nvSpPr>
          <p:spPr>
            <a:xfrm>
              <a:off x="5775008" y="3530248"/>
              <a:ext cx="253611" cy="322722"/>
            </a:xfrm>
            <a:custGeom>
              <a:avLst/>
              <a:gdLst/>
              <a:ahLst/>
              <a:cxnLst/>
              <a:rect l="l" t="t" r="r" b="b"/>
              <a:pathLst>
                <a:path w="253611" h="322722" extrusionOk="0">
                  <a:moveTo>
                    <a:pt x="250673" y="25527"/>
                  </a:moveTo>
                  <a:cubicBezTo>
                    <a:pt x="245826" y="5334"/>
                    <a:pt x="230046" y="11811"/>
                    <a:pt x="216453" y="0"/>
                  </a:cubicBezTo>
                  <a:cubicBezTo>
                    <a:pt x="184990" y="44672"/>
                    <a:pt x="205902" y="165449"/>
                    <a:pt x="210180" y="178308"/>
                  </a:cubicBezTo>
                  <a:lnTo>
                    <a:pt x="89270" y="255556"/>
                  </a:lnTo>
                  <a:lnTo>
                    <a:pt x="89270" y="255556"/>
                  </a:lnTo>
                  <a:lnTo>
                    <a:pt x="81095" y="260604"/>
                  </a:lnTo>
                  <a:cubicBezTo>
                    <a:pt x="67331" y="269662"/>
                    <a:pt x="52131" y="276301"/>
                    <a:pt x="36134" y="280225"/>
                  </a:cubicBezTo>
                  <a:cubicBezTo>
                    <a:pt x="24062" y="281654"/>
                    <a:pt x="17788" y="298704"/>
                    <a:pt x="4860" y="300228"/>
                  </a:cubicBezTo>
                  <a:cubicBezTo>
                    <a:pt x="2075" y="300333"/>
                    <a:pt x="-92" y="302666"/>
                    <a:pt x="3" y="305457"/>
                  </a:cubicBezTo>
                  <a:cubicBezTo>
                    <a:pt x="51" y="306753"/>
                    <a:pt x="602" y="307991"/>
                    <a:pt x="1533" y="308896"/>
                  </a:cubicBezTo>
                  <a:cubicBezTo>
                    <a:pt x="6667" y="313849"/>
                    <a:pt x="20545" y="309753"/>
                    <a:pt x="30050" y="298704"/>
                  </a:cubicBezTo>
                  <a:cubicBezTo>
                    <a:pt x="30002" y="298952"/>
                    <a:pt x="30002" y="299218"/>
                    <a:pt x="30050" y="299466"/>
                  </a:cubicBezTo>
                  <a:cubicBezTo>
                    <a:pt x="30202" y="303057"/>
                    <a:pt x="32227" y="306314"/>
                    <a:pt x="35373" y="308038"/>
                  </a:cubicBezTo>
                  <a:cubicBezTo>
                    <a:pt x="36067" y="308458"/>
                    <a:pt x="36846" y="308724"/>
                    <a:pt x="37655" y="308800"/>
                  </a:cubicBezTo>
                  <a:cubicBezTo>
                    <a:pt x="37655" y="309610"/>
                    <a:pt x="37883" y="310401"/>
                    <a:pt x="38320" y="311087"/>
                  </a:cubicBezTo>
                  <a:cubicBezTo>
                    <a:pt x="39708" y="313925"/>
                    <a:pt x="42417" y="315887"/>
                    <a:pt x="45544" y="316325"/>
                  </a:cubicBezTo>
                  <a:lnTo>
                    <a:pt x="45544" y="316325"/>
                  </a:lnTo>
                  <a:cubicBezTo>
                    <a:pt x="46941" y="320335"/>
                    <a:pt x="50820" y="322945"/>
                    <a:pt x="55050" y="322707"/>
                  </a:cubicBezTo>
                  <a:cubicBezTo>
                    <a:pt x="57825" y="322564"/>
                    <a:pt x="60439" y="321373"/>
                    <a:pt x="62369" y="319373"/>
                  </a:cubicBezTo>
                  <a:cubicBezTo>
                    <a:pt x="72682" y="315430"/>
                    <a:pt x="81789" y="308867"/>
                    <a:pt x="88794" y="300323"/>
                  </a:cubicBezTo>
                  <a:cubicBezTo>
                    <a:pt x="94982" y="293875"/>
                    <a:pt x="101522" y="287769"/>
                    <a:pt x="108375" y="282035"/>
                  </a:cubicBezTo>
                  <a:cubicBezTo>
                    <a:pt x="141170" y="267843"/>
                    <a:pt x="239552" y="225742"/>
                    <a:pt x="243924" y="219742"/>
                  </a:cubicBezTo>
                  <a:cubicBezTo>
                    <a:pt x="250768" y="210693"/>
                    <a:pt x="257707" y="54102"/>
                    <a:pt x="250673" y="2552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15"/>
            <p:cNvSpPr/>
            <p:nvPr/>
          </p:nvSpPr>
          <p:spPr>
            <a:xfrm>
              <a:off x="5965891" y="3514431"/>
              <a:ext cx="72720" cy="103595"/>
            </a:xfrm>
            <a:custGeom>
              <a:avLst/>
              <a:gdLst/>
              <a:ahLst/>
              <a:cxnLst/>
              <a:rect l="l" t="t" r="r" b="b"/>
              <a:pathLst>
                <a:path w="72720" h="103595" extrusionOk="0">
                  <a:moveTo>
                    <a:pt x="70816" y="95541"/>
                  </a:moveTo>
                  <a:cubicBezTo>
                    <a:pt x="70816" y="95541"/>
                    <a:pt x="32129" y="112876"/>
                    <a:pt x="0" y="96684"/>
                  </a:cubicBezTo>
                  <a:lnTo>
                    <a:pt x="4658" y="36009"/>
                  </a:lnTo>
                  <a:cubicBezTo>
                    <a:pt x="4658" y="36009"/>
                    <a:pt x="5133" y="3434"/>
                    <a:pt x="34125" y="195"/>
                  </a:cubicBezTo>
                  <a:cubicBezTo>
                    <a:pt x="63117" y="-3043"/>
                    <a:pt x="78325" y="34200"/>
                    <a:pt x="70816" y="9554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0" name="Google Shape;500;p15"/>
            <p:cNvGrpSpPr/>
            <p:nvPr/>
          </p:nvGrpSpPr>
          <p:grpSpPr>
            <a:xfrm flipH="1">
              <a:off x="2865273" y="3434801"/>
              <a:ext cx="598186" cy="1340314"/>
              <a:chOff x="4210728" y="4525714"/>
              <a:chExt cx="546438" cy="1224366"/>
            </a:xfrm>
          </p:grpSpPr>
          <p:sp>
            <p:nvSpPr>
              <p:cNvPr id="501" name="Google Shape;501;p15"/>
              <p:cNvSpPr/>
              <p:nvPr/>
            </p:nvSpPr>
            <p:spPr>
              <a:xfrm>
                <a:off x="4672107" y="4726590"/>
                <a:ext cx="85002" cy="305847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502;p15"/>
              <p:cNvSpPr/>
              <p:nvPr/>
            </p:nvSpPr>
            <p:spPr>
              <a:xfrm>
                <a:off x="4408366" y="5679962"/>
                <a:ext cx="123900" cy="70118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503;p15"/>
              <p:cNvSpPr/>
              <p:nvPr/>
            </p:nvSpPr>
            <p:spPr>
              <a:xfrm>
                <a:off x="4408245" y="5691663"/>
                <a:ext cx="121939" cy="58416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15"/>
              <p:cNvSpPr/>
              <p:nvPr/>
            </p:nvSpPr>
            <p:spPr>
              <a:xfrm>
                <a:off x="4566152" y="5600798"/>
                <a:ext cx="119416" cy="67472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505;p15"/>
              <p:cNvSpPr/>
              <p:nvPr/>
            </p:nvSpPr>
            <p:spPr>
              <a:xfrm>
                <a:off x="4566197" y="5611939"/>
                <a:ext cx="117340" cy="56332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5"/>
              <p:cNvSpPr/>
              <p:nvPr/>
            </p:nvSpPr>
            <p:spPr>
              <a:xfrm>
                <a:off x="4483409" y="4968525"/>
                <a:ext cx="238054" cy="732926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15"/>
              <p:cNvSpPr/>
              <p:nvPr/>
            </p:nvSpPr>
            <p:spPr>
              <a:xfrm>
                <a:off x="4484426" y="4968525"/>
                <a:ext cx="236925" cy="409866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15"/>
              <p:cNvSpPr/>
              <p:nvPr/>
            </p:nvSpPr>
            <p:spPr>
              <a:xfrm>
                <a:off x="4531702" y="4525767"/>
                <a:ext cx="160521" cy="258577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15"/>
              <p:cNvSpPr/>
              <p:nvPr/>
            </p:nvSpPr>
            <p:spPr>
              <a:xfrm>
                <a:off x="4695825" y="4756088"/>
                <a:ext cx="61341" cy="108805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15"/>
              <p:cNvSpPr/>
              <p:nvPr/>
            </p:nvSpPr>
            <p:spPr>
              <a:xfrm>
                <a:off x="4523612" y="4724507"/>
                <a:ext cx="191546" cy="273865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15"/>
              <p:cNvSpPr/>
              <p:nvPr/>
            </p:nvSpPr>
            <p:spPr>
              <a:xfrm>
                <a:off x="4210728" y="4780936"/>
                <a:ext cx="368747" cy="265455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15"/>
              <p:cNvSpPr/>
              <p:nvPr/>
            </p:nvSpPr>
            <p:spPr>
              <a:xfrm>
                <a:off x="4484370" y="4765472"/>
                <a:ext cx="100785" cy="104755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15"/>
              <p:cNvSpPr/>
              <p:nvPr/>
            </p:nvSpPr>
            <p:spPr>
              <a:xfrm>
                <a:off x="4524935" y="4525714"/>
                <a:ext cx="201012" cy="328692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881777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8" name="Google Shape;1168;p27"/>
          <p:cNvSpPr txBox="1">
            <a:spLocks noGrp="1"/>
          </p:cNvSpPr>
          <p:nvPr>
            <p:ph type="ctrTitle" idx="4294967295"/>
          </p:nvPr>
        </p:nvSpPr>
        <p:spPr>
          <a:xfrm>
            <a:off x="685800" y="876600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9,871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69" name="Google Shape;1169;p27"/>
          <p:cNvSpPr txBox="1">
            <a:spLocks noGrp="1"/>
          </p:cNvSpPr>
          <p:nvPr>
            <p:ph type="subTitle" idx="4294967295"/>
          </p:nvPr>
        </p:nvSpPr>
        <p:spPr>
          <a:xfrm>
            <a:off x="685799" y="1411308"/>
            <a:ext cx="5519615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sz="2400" dirty="0"/>
              <a:t>Total Job Postings</a:t>
            </a:r>
            <a:endParaRPr sz="2400" dirty="0"/>
          </a:p>
        </p:txBody>
      </p:sp>
      <p:sp>
        <p:nvSpPr>
          <p:cNvPr id="1170" name="Google Shape;1170;p27"/>
          <p:cNvSpPr txBox="1">
            <a:spLocks noGrp="1"/>
          </p:cNvSpPr>
          <p:nvPr>
            <p:ph type="ctrTitle" idx="4294967295"/>
          </p:nvPr>
        </p:nvSpPr>
        <p:spPr>
          <a:xfrm>
            <a:off x="685800" y="3505493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1,115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1" name="Google Shape;1171;p27"/>
          <p:cNvSpPr txBox="1">
            <a:spLocks noGrp="1"/>
          </p:cNvSpPr>
          <p:nvPr>
            <p:ph type="subTitle" idx="4294967295"/>
          </p:nvPr>
        </p:nvSpPr>
        <p:spPr>
          <a:xfrm>
            <a:off x="685800" y="4040201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Cities</a:t>
            </a:r>
            <a:endParaRPr sz="2400" dirty="0"/>
          </a:p>
        </p:txBody>
      </p:sp>
      <p:sp>
        <p:nvSpPr>
          <p:cNvPr id="1172" name="Google Shape;1172;p27"/>
          <p:cNvSpPr txBox="1">
            <a:spLocks noGrp="1"/>
          </p:cNvSpPr>
          <p:nvPr>
            <p:ph type="ctrTitle" idx="4294967295"/>
          </p:nvPr>
        </p:nvSpPr>
        <p:spPr>
          <a:xfrm>
            <a:off x="685800" y="2191047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254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3" name="Google Shape;1173;p27"/>
          <p:cNvSpPr txBox="1">
            <a:spLocks noGrp="1"/>
          </p:cNvSpPr>
          <p:nvPr>
            <p:ph type="subTitle" idx="4294967295"/>
          </p:nvPr>
        </p:nvSpPr>
        <p:spPr>
          <a:xfrm>
            <a:off x="685800" y="2725755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Remote Jobs</a:t>
            </a:r>
            <a:endParaRPr sz="2400" dirty="0"/>
          </a:p>
        </p:txBody>
      </p:sp>
      <p:sp>
        <p:nvSpPr>
          <p:cNvPr id="1174" name="Google Shape;1174;p2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7</a:t>
            </a:fld>
            <a:endParaRPr/>
          </a:p>
        </p:txBody>
      </p:sp>
      <p:pic>
        <p:nvPicPr>
          <p:cNvPr id="5122" name="Picture 2" descr="Image result for data jobs search">
            <a:extLst>
              <a:ext uri="{FF2B5EF4-FFF2-40B4-BE49-F238E27FC236}">
                <a16:creationId xmlns:a16="http://schemas.microsoft.com/office/drawing/2014/main" id="{21D6997C-FBF3-4D87-A77A-6DB94AE35C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0067" y="876600"/>
            <a:ext cx="5810513" cy="3267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7" name="Google Shape;997;p20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</a:t>
            </a:r>
            <a:endParaRPr dirty="0"/>
          </a:p>
        </p:txBody>
      </p:sp>
      <p:sp>
        <p:nvSpPr>
          <p:cNvPr id="998" name="Google Shape;998;p20"/>
          <p:cNvSpPr txBox="1">
            <a:spLocks noGrp="1"/>
          </p:cNvSpPr>
          <p:nvPr>
            <p:ph type="body" idx="1"/>
          </p:nvPr>
        </p:nvSpPr>
        <p:spPr>
          <a:xfrm>
            <a:off x="457200" y="1187938"/>
            <a:ext cx="8405446" cy="348681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u="sng" dirty="0"/>
              <a:t>CA focused results</a:t>
            </a:r>
            <a:endParaRPr u="sng" dirty="0"/>
          </a:p>
          <a:p>
            <a:pPr marL="285750" indent="-285750"/>
            <a:r>
              <a:rPr lang="en" dirty="0"/>
              <a:t>Many data jobs are in ON, followed by BC, some Remote Jobs</a:t>
            </a:r>
          </a:p>
          <a:p>
            <a:pPr marL="742950" lvl="1" indent="-285750"/>
            <a:r>
              <a:rPr lang="en" dirty="0"/>
              <a:t>In ON: majority of jobs are in and surrounding Toronto</a:t>
            </a:r>
          </a:p>
          <a:p>
            <a:pPr marL="1200150" lvl="2" indent="-285750"/>
            <a:r>
              <a:rPr lang="en" dirty="0"/>
              <a:t>Data Analyst &gt;&gt; Data Engineer &gt;&gt; Data Scientist &gt;&gt; Machine Learning</a:t>
            </a:r>
          </a:p>
          <a:p>
            <a:pPr marL="742950" lvl="1" indent="-285750"/>
            <a:r>
              <a:rPr lang="en" dirty="0"/>
              <a:t>In BC: majority of jobs are in Vancouver </a:t>
            </a:r>
          </a:p>
          <a:p>
            <a:pPr marL="1200150" lvl="2" indent="-285750"/>
            <a:r>
              <a:rPr lang="en" dirty="0"/>
              <a:t>Data Engineer &gt;&gt; Data Analyst &gt;&gt; Data Scientist &gt;&gt; Machine Learning</a:t>
            </a:r>
          </a:p>
          <a:p>
            <a:pPr marL="285750" indent="-285750"/>
            <a:r>
              <a:rPr lang="en" dirty="0"/>
              <a:t>Most survey responders reported either “Don’t know” or “Somewhat easy” to take leaves</a:t>
            </a:r>
          </a:p>
          <a:p>
            <a:pPr marL="285750" indent="-285750"/>
            <a:r>
              <a:rPr lang="en" dirty="0"/>
              <a:t>20% have wellness program at work</a:t>
            </a:r>
          </a:p>
          <a:p>
            <a:pPr marL="285750" indent="-285750"/>
            <a:r>
              <a:rPr lang="en" dirty="0"/>
              <a:t>40% have work benefits</a:t>
            </a:r>
          </a:p>
          <a:p>
            <a:pPr marL="457200" lvl="1" indent="0">
              <a:buNone/>
            </a:pPr>
            <a:endParaRPr lang="en" dirty="0"/>
          </a:p>
        </p:txBody>
      </p:sp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8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8C8A79-1ABF-48D1-B433-C45EB7DAE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4310" y="105050"/>
            <a:ext cx="2496130" cy="171797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520273D-9E4E-4F1C-A654-CDB3D7461F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1751" y="3614213"/>
            <a:ext cx="2496130" cy="10961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4641AC0-873E-4784-A899-D6738A5C94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7927" y="3614213"/>
            <a:ext cx="983384" cy="1305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3074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9</a:t>
            </a:fld>
            <a:endParaRPr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2AEEB3-9148-4794-945C-8CB50C0FB1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846" y="241788"/>
            <a:ext cx="8292123" cy="4664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3944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genda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</a:t>
            </a:fld>
            <a:endParaRPr/>
          </a:p>
        </p:txBody>
      </p:sp>
      <p:grpSp>
        <p:nvGrpSpPr>
          <p:cNvPr id="348" name="Google Shape;348;p13"/>
          <p:cNvGrpSpPr/>
          <p:nvPr/>
        </p:nvGrpSpPr>
        <p:grpSpPr>
          <a:xfrm>
            <a:off x="6056647" y="380988"/>
            <a:ext cx="2706354" cy="1604434"/>
            <a:chOff x="6986665" y="3298709"/>
            <a:chExt cx="1817809" cy="1077669"/>
          </a:xfrm>
        </p:grpSpPr>
        <p:sp>
          <p:nvSpPr>
            <p:cNvPr id="349" name="Google Shape;349;p13"/>
            <p:cNvSpPr/>
            <p:nvPr/>
          </p:nvSpPr>
          <p:spPr>
            <a:xfrm>
              <a:off x="6986665" y="3342725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350;p13"/>
            <p:cNvSpPr/>
            <p:nvPr/>
          </p:nvSpPr>
          <p:spPr>
            <a:xfrm>
              <a:off x="7014156" y="3327342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351;p13"/>
            <p:cNvSpPr/>
            <p:nvPr/>
          </p:nvSpPr>
          <p:spPr>
            <a:xfrm>
              <a:off x="7014156" y="3298709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352;p13"/>
            <p:cNvSpPr/>
            <p:nvPr/>
          </p:nvSpPr>
          <p:spPr>
            <a:xfrm>
              <a:off x="7976493" y="3396565"/>
              <a:ext cx="664692" cy="383742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353;p13"/>
            <p:cNvSpPr/>
            <p:nvPr/>
          </p:nvSpPr>
          <p:spPr>
            <a:xfrm>
              <a:off x="7912754" y="3450709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354;p13"/>
            <p:cNvSpPr/>
            <p:nvPr/>
          </p:nvSpPr>
          <p:spPr>
            <a:xfrm>
              <a:off x="7863331" y="3479190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355;p13"/>
            <p:cNvSpPr/>
            <p:nvPr/>
          </p:nvSpPr>
          <p:spPr>
            <a:xfrm>
              <a:off x="7813984" y="3507747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356;p13"/>
            <p:cNvSpPr/>
            <p:nvPr/>
          </p:nvSpPr>
          <p:spPr>
            <a:xfrm>
              <a:off x="7451727" y="3699575"/>
              <a:ext cx="664616" cy="38374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357;p13"/>
            <p:cNvSpPr/>
            <p:nvPr/>
          </p:nvSpPr>
          <p:spPr>
            <a:xfrm>
              <a:off x="7387988" y="3753643"/>
              <a:ext cx="593293" cy="342595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13"/>
            <p:cNvSpPr/>
            <p:nvPr/>
          </p:nvSpPr>
          <p:spPr>
            <a:xfrm>
              <a:off x="7338565" y="3782200"/>
              <a:ext cx="582091" cy="33604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13"/>
            <p:cNvSpPr/>
            <p:nvPr/>
          </p:nvSpPr>
          <p:spPr>
            <a:xfrm>
              <a:off x="7289218" y="3810681"/>
              <a:ext cx="496671" cy="286816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360;p13"/>
            <p:cNvSpPr/>
            <p:nvPr/>
          </p:nvSpPr>
          <p:spPr>
            <a:xfrm>
              <a:off x="7582329" y="3561435"/>
              <a:ext cx="337413" cy="194766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13"/>
            <p:cNvSpPr/>
            <p:nvPr/>
          </p:nvSpPr>
          <p:spPr>
            <a:xfrm>
              <a:off x="7800200" y="3687162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362;p13"/>
            <p:cNvSpPr/>
            <p:nvPr/>
          </p:nvSpPr>
          <p:spPr>
            <a:xfrm>
              <a:off x="8018073" y="3812966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363;p13"/>
            <p:cNvSpPr/>
            <p:nvPr/>
          </p:nvSpPr>
          <p:spPr>
            <a:xfrm>
              <a:off x="7794459" y="3551002"/>
              <a:ext cx="540846" cy="312343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364;p13"/>
            <p:cNvSpPr/>
            <p:nvPr/>
          </p:nvSpPr>
          <p:spPr>
            <a:xfrm>
              <a:off x="7824798" y="3491907"/>
              <a:ext cx="470058" cy="181410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365;p13"/>
            <p:cNvSpPr/>
            <p:nvPr/>
          </p:nvSpPr>
          <p:spPr>
            <a:xfrm>
              <a:off x="7794490" y="3623727"/>
              <a:ext cx="41071" cy="82677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366;p13"/>
            <p:cNvSpPr/>
            <p:nvPr/>
          </p:nvSpPr>
          <p:spPr>
            <a:xfrm>
              <a:off x="8298847" y="3624184"/>
              <a:ext cx="36118" cy="82219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367;p13"/>
            <p:cNvSpPr/>
            <p:nvPr/>
          </p:nvSpPr>
          <p:spPr>
            <a:xfrm>
              <a:off x="7842237" y="3535238"/>
              <a:ext cx="450190" cy="259842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368;p13"/>
            <p:cNvSpPr/>
            <p:nvPr/>
          </p:nvSpPr>
          <p:spPr>
            <a:xfrm>
              <a:off x="7815050" y="3673683"/>
              <a:ext cx="491790" cy="17643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369;p13"/>
            <p:cNvSpPr/>
            <p:nvPr/>
          </p:nvSpPr>
          <p:spPr>
            <a:xfrm>
              <a:off x="7794490" y="3472184"/>
              <a:ext cx="540791" cy="312391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370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371;p13"/>
            <p:cNvSpPr/>
            <p:nvPr/>
          </p:nvSpPr>
          <p:spPr>
            <a:xfrm>
              <a:off x="7752377" y="3752957"/>
              <a:ext cx="148970" cy="86030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372;p13"/>
            <p:cNvSpPr/>
            <p:nvPr/>
          </p:nvSpPr>
          <p:spPr>
            <a:xfrm>
              <a:off x="7787483" y="3773138"/>
              <a:ext cx="113842" cy="106298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373;p13"/>
            <p:cNvSpPr/>
            <p:nvPr/>
          </p:nvSpPr>
          <p:spPr>
            <a:xfrm>
              <a:off x="7465892" y="3799784"/>
              <a:ext cx="345033" cy="254286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374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199" y="1351800"/>
            <a:ext cx="5869459" cy="2887291"/>
          </a:xfrm>
        </p:spPr>
        <p:txBody>
          <a:bodyPr/>
          <a:lstStyle/>
          <a:p>
            <a:r>
              <a:rPr lang="en-CA" dirty="0"/>
              <a:t>Project motivation</a:t>
            </a:r>
          </a:p>
          <a:p>
            <a:r>
              <a:rPr lang="en-CA" dirty="0"/>
              <a:t>ETL process</a:t>
            </a:r>
          </a:p>
          <a:p>
            <a:r>
              <a:rPr lang="en-CA" dirty="0"/>
              <a:t>Dashboard creation process</a:t>
            </a:r>
          </a:p>
          <a:p>
            <a:r>
              <a:rPr lang="en-CA" dirty="0"/>
              <a:t>Results</a:t>
            </a:r>
          </a:p>
          <a:p>
            <a:r>
              <a:rPr lang="en-CA" dirty="0"/>
              <a:t>Summary of insights</a:t>
            </a:r>
          </a:p>
          <a:p>
            <a:r>
              <a:rPr lang="en-CA" dirty="0"/>
              <a:t>Future works</a:t>
            </a:r>
          </a:p>
          <a:p>
            <a:r>
              <a:rPr lang="en-CA" dirty="0"/>
              <a:t>Q&amp;A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0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C8CBD08-C1F2-483F-B056-122E74ED40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940" y="143543"/>
            <a:ext cx="8503595" cy="485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654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1</a:t>
            </a:fld>
            <a:endParaRPr/>
          </a:p>
        </p:txBody>
      </p:sp>
      <p:sp>
        <p:nvSpPr>
          <p:cNvPr id="4" name="Google Shape;1700;p28">
            <a:extLst>
              <a:ext uri="{FF2B5EF4-FFF2-40B4-BE49-F238E27FC236}">
                <a16:creationId xmlns:a16="http://schemas.microsoft.com/office/drawing/2014/main" id="{9537626E-26FA-4C27-97A0-B0735C4B5F4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649346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Usage Instructions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1B36DA-5D42-475F-9E23-488BC36ECBA9}"/>
              </a:ext>
            </a:extLst>
          </p:cNvPr>
          <p:cNvSpPr txBox="1"/>
          <p:nvPr/>
        </p:nvSpPr>
        <p:spPr>
          <a:xfrm>
            <a:off x="457199" y="1225685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1. ETL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975890-35E4-444C-82C4-ECD96E14397C}"/>
              </a:ext>
            </a:extLst>
          </p:cNvPr>
          <p:cNvSpPr txBox="1"/>
          <p:nvPr/>
        </p:nvSpPr>
        <p:spPr>
          <a:xfrm>
            <a:off x="875489" y="1533462"/>
            <a:ext cx="79183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Folk our GitHub: </a:t>
            </a:r>
            <a:r>
              <a:rPr lang="en-US" sz="1400" dirty="0" err="1">
                <a:hlinkClick r:id="rId3"/>
              </a:rPr>
              <a:t>angmay</a:t>
            </a:r>
            <a:r>
              <a:rPr lang="en-US" sz="1400" dirty="0">
                <a:hlinkClick r:id="rId3"/>
              </a:rPr>
              <a:t>/</a:t>
            </a:r>
            <a:r>
              <a:rPr lang="en-US" sz="1400" dirty="0" err="1">
                <a:hlinkClick r:id="rId3"/>
              </a:rPr>
              <a:t>DataJobMarket</a:t>
            </a:r>
            <a:r>
              <a:rPr lang="en-US" sz="1400" dirty="0">
                <a:hlinkClick r:id="rId3"/>
              </a:rPr>
              <a:t>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Run the </a:t>
            </a:r>
            <a:r>
              <a:rPr lang="en-CA" dirty="0" err="1">
                <a:sym typeface="Wingdings" panose="05000000000000000000" pitchFamily="2" charset="2"/>
              </a:rPr>
              <a:t>Main.ipynb</a:t>
            </a:r>
            <a:endParaRPr lang="en-CA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notebook will perform following tasks:</a:t>
            </a:r>
          </a:p>
          <a:p>
            <a:endParaRPr lang="en-CA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D9B805-56F9-46D3-B6F8-E8842D608FC7}"/>
              </a:ext>
            </a:extLst>
          </p:cNvPr>
          <p:cNvSpPr txBox="1"/>
          <p:nvPr/>
        </p:nvSpPr>
        <p:spPr>
          <a:xfrm>
            <a:off x="1562910" y="2199469"/>
            <a:ext cx="485734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 err="1">
                <a:sym typeface="Wingdings" panose="05000000000000000000" pitchFamily="2" charset="2"/>
              </a:rPr>
              <a:t>WebScrape</a:t>
            </a:r>
            <a:r>
              <a:rPr lang="en-CA" dirty="0">
                <a:sym typeface="Wingdings" panose="05000000000000000000" pitchFamily="2" charset="2"/>
              </a:rPr>
              <a:t> data from Indeed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Perform data transform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Load data onto either PostgreSQL or SQL Elephant </a:t>
            </a:r>
          </a:p>
          <a:p>
            <a:r>
              <a:rPr lang="en-CA" dirty="0">
                <a:sym typeface="Wingdings" panose="05000000000000000000" pitchFamily="2" charset="2"/>
              </a:rPr>
              <a:t>      (switch off the code on the </a:t>
            </a:r>
            <a:r>
              <a:rPr lang="en-CA" dirty="0" err="1">
                <a:sym typeface="Wingdings" panose="05000000000000000000" pitchFamily="2" charset="2"/>
              </a:rPr>
              <a:t>Load.jpynb</a:t>
            </a:r>
            <a:r>
              <a:rPr lang="en-CA" dirty="0">
                <a:sym typeface="Wingdings" panose="05000000000000000000" pitchFamily="2" charset="2"/>
              </a:rPr>
              <a:t>)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CA" dirty="0">
              <a:sym typeface="Wingdings" panose="05000000000000000000" pitchFamily="2" charset="2"/>
            </a:endParaRPr>
          </a:p>
          <a:p>
            <a:endParaRPr lang="en-CA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675AE7-223D-4AE5-AFD8-EE8689B2E3F0}"/>
              </a:ext>
            </a:extLst>
          </p:cNvPr>
          <p:cNvSpPr txBox="1"/>
          <p:nvPr/>
        </p:nvSpPr>
        <p:spPr>
          <a:xfrm>
            <a:off x="457199" y="3093540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2. Dashboard Creation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483E668-FEAE-4C59-9B67-D7450C632178}"/>
              </a:ext>
            </a:extLst>
          </p:cNvPr>
          <p:cNvSpPr txBox="1"/>
          <p:nvPr/>
        </p:nvSpPr>
        <p:spPr>
          <a:xfrm>
            <a:off x="875488" y="3440761"/>
            <a:ext cx="79183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Folk our GitHub: </a:t>
            </a:r>
            <a:r>
              <a:rPr lang="en-CA" dirty="0" err="1">
                <a:hlinkClick r:id="rId4"/>
              </a:rPr>
              <a:t>Navyhoang</a:t>
            </a:r>
            <a:r>
              <a:rPr lang="en-CA" dirty="0">
                <a:hlinkClick r:id="rId4"/>
              </a:rPr>
              <a:t>/Project2-DataJobs-App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Run the app.py within </a:t>
            </a:r>
            <a:r>
              <a:rPr lang="en-CA" dirty="0" err="1">
                <a:sym typeface="Wingdings" panose="05000000000000000000" pitchFamily="2" charset="2"/>
              </a:rPr>
              <a:t>actualApp</a:t>
            </a:r>
            <a:r>
              <a:rPr lang="en-CA" dirty="0">
                <a:sym typeface="Wingdings" panose="05000000000000000000" pitchFamily="2" charset="2"/>
              </a:rPr>
              <a:t> folde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will perform the following tasks:</a:t>
            </a:r>
          </a:p>
          <a:p>
            <a:endParaRPr lang="en-CA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207FDD-DCF1-4820-9E90-C327CD957920}"/>
              </a:ext>
            </a:extLst>
          </p:cNvPr>
          <p:cNvSpPr txBox="1"/>
          <p:nvPr/>
        </p:nvSpPr>
        <p:spPr>
          <a:xfrm>
            <a:off x="1562910" y="4197938"/>
            <a:ext cx="485734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Query new data from databases abov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Deploy the app with new data accordingly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CA" dirty="0">
              <a:sym typeface="Wingdings" panose="05000000000000000000" pitchFamily="2" charset="2"/>
            </a:endParaRPr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472036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6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408" name="Google Shape;408;p15"/>
          <p:cNvGrpSpPr/>
          <p:nvPr/>
        </p:nvGrpSpPr>
        <p:grpSpPr>
          <a:xfrm>
            <a:off x="5435079" y="912423"/>
            <a:ext cx="3239723" cy="3318665"/>
            <a:chOff x="2270525" y="117216"/>
            <a:chExt cx="4650765" cy="4762722"/>
          </a:xfrm>
        </p:grpSpPr>
        <p:sp>
          <p:nvSpPr>
            <p:cNvPr id="409" name="Google Shape;409;p15"/>
            <p:cNvSpPr/>
            <p:nvPr/>
          </p:nvSpPr>
          <p:spPr>
            <a:xfrm>
              <a:off x="2270525" y="2788917"/>
              <a:ext cx="1367464" cy="791146"/>
            </a:xfrm>
            <a:custGeom>
              <a:avLst/>
              <a:gdLst/>
              <a:ahLst/>
              <a:cxnLst/>
              <a:rect l="l" t="t" r="r" b="b"/>
              <a:pathLst>
                <a:path w="1367464" h="791146" extrusionOk="0">
                  <a:moveTo>
                    <a:pt x="1367464" y="395573"/>
                  </a:moveTo>
                  <a:cubicBezTo>
                    <a:pt x="1367464" y="614042"/>
                    <a:pt x="1061347" y="791146"/>
                    <a:pt x="683732" y="791146"/>
                  </a:cubicBezTo>
                  <a:cubicBezTo>
                    <a:pt x="306117" y="791146"/>
                    <a:pt x="0" y="614042"/>
                    <a:pt x="0" y="395573"/>
                  </a:cubicBezTo>
                  <a:cubicBezTo>
                    <a:pt x="0" y="177104"/>
                    <a:pt x="306117" y="0"/>
                    <a:pt x="683732" y="0"/>
                  </a:cubicBezTo>
                  <a:cubicBezTo>
                    <a:pt x="1061347" y="0"/>
                    <a:pt x="1367464" y="177104"/>
                    <a:pt x="1367464" y="395573"/>
                  </a:cubicBezTo>
                  <a:close/>
                </a:path>
              </a:pathLst>
            </a:custGeom>
            <a:solidFill>
              <a:srgbClr val="D6D8E5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15"/>
            <p:cNvSpPr/>
            <p:nvPr/>
          </p:nvSpPr>
          <p:spPr>
            <a:xfrm>
              <a:off x="2565006" y="2921600"/>
              <a:ext cx="762723" cy="441198"/>
            </a:xfrm>
            <a:custGeom>
              <a:avLst/>
              <a:gdLst/>
              <a:ahLst/>
              <a:cxnLst/>
              <a:rect l="l" t="t" r="r" b="b"/>
              <a:pathLst>
                <a:path w="762723" h="441198" extrusionOk="0">
                  <a:moveTo>
                    <a:pt x="762723" y="220599"/>
                  </a:moveTo>
                  <a:cubicBezTo>
                    <a:pt x="762723" y="342432"/>
                    <a:pt x="591982" y="441198"/>
                    <a:pt x="381362" y="441198"/>
                  </a:cubicBezTo>
                  <a:cubicBezTo>
                    <a:pt x="170741" y="441198"/>
                    <a:pt x="0" y="342432"/>
                    <a:pt x="0" y="220599"/>
                  </a:cubicBezTo>
                  <a:cubicBezTo>
                    <a:pt x="0" y="98765"/>
                    <a:pt x="170741" y="0"/>
                    <a:pt x="381362" y="0"/>
                  </a:cubicBezTo>
                  <a:cubicBezTo>
                    <a:pt x="591982" y="0"/>
                    <a:pt x="762723" y="98765"/>
                    <a:pt x="762723" y="220599"/>
                  </a:cubicBezTo>
                  <a:close/>
                </a:path>
              </a:pathLst>
            </a:custGeom>
            <a:solidFill>
              <a:srgbClr val="EDEFF9">
                <a:alpha val="4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15"/>
            <p:cNvSpPr/>
            <p:nvPr/>
          </p:nvSpPr>
          <p:spPr>
            <a:xfrm>
              <a:off x="2834012" y="3000943"/>
              <a:ext cx="217486" cy="125920"/>
            </a:xfrm>
            <a:custGeom>
              <a:avLst/>
              <a:gdLst/>
              <a:ahLst/>
              <a:cxnLst/>
              <a:rect l="l" t="t" r="r" b="b"/>
              <a:pathLst>
                <a:path w="217486" h="125920" extrusionOk="0">
                  <a:moveTo>
                    <a:pt x="217486" y="62960"/>
                  </a:moveTo>
                  <a:cubicBezTo>
                    <a:pt x="217486" y="97732"/>
                    <a:pt x="168800" y="125920"/>
                    <a:pt x="108743" y="125920"/>
                  </a:cubicBezTo>
                  <a:cubicBezTo>
                    <a:pt x="48686" y="125920"/>
                    <a:pt x="0" y="97732"/>
                    <a:pt x="0" y="62960"/>
                  </a:cubicBezTo>
                  <a:cubicBezTo>
                    <a:pt x="0" y="28188"/>
                    <a:pt x="48686" y="0"/>
                    <a:pt x="108743" y="0"/>
                  </a:cubicBezTo>
                  <a:cubicBezTo>
                    <a:pt x="168800" y="0"/>
                    <a:pt x="217486" y="28188"/>
                    <a:pt x="217486" y="62960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15"/>
            <p:cNvSpPr/>
            <p:nvPr/>
          </p:nvSpPr>
          <p:spPr>
            <a:xfrm>
              <a:off x="2841806" y="2229228"/>
              <a:ext cx="209121" cy="823531"/>
            </a:xfrm>
            <a:custGeom>
              <a:avLst/>
              <a:gdLst/>
              <a:ahLst/>
              <a:cxnLst/>
              <a:rect l="l" t="t" r="r" b="b"/>
              <a:pathLst>
                <a:path w="209121" h="823531" extrusionOk="0">
                  <a:moveTo>
                    <a:pt x="0" y="0"/>
                  </a:moveTo>
                  <a:lnTo>
                    <a:pt x="209121" y="0"/>
                  </a:lnTo>
                  <a:lnTo>
                    <a:pt x="209121" y="823532"/>
                  </a:lnTo>
                  <a:lnTo>
                    <a:pt x="0" y="823532"/>
                  </a:ln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15"/>
            <p:cNvSpPr/>
            <p:nvPr/>
          </p:nvSpPr>
          <p:spPr>
            <a:xfrm>
              <a:off x="2831826" y="2112223"/>
              <a:ext cx="249895" cy="580777"/>
            </a:xfrm>
            <a:custGeom>
              <a:avLst/>
              <a:gdLst/>
              <a:ahLst/>
              <a:cxnLst/>
              <a:rect l="l" t="t" r="r" b="b"/>
              <a:pathLst>
                <a:path w="249895" h="580777" extrusionOk="0">
                  <a:moveTo>
                    <a:pt x="0" y="107670"/>
                  </a:moveTo>
                  <a:cubicBezTo>
                    <a:pt x="0" y="107670"/>
                    <a:pt x="5703" y="277025"/>
                    <a:pt x="125948" y="580777"/>
                  </a:cubicBezTo>
                  <a:cubicBezTo>
                    <a:pt x="125948" y="580777"/>
                    <a:pt x="237923" y="336175"/>
                    <a:pt x="249520" y="102527"/>
                  </a:cubicBezTo>
                  <a:cubicBezTo>
                    <a:pt x="261117" y="-131122"/>
                    <a:pt x="0" y="107670"/>
                    <a:pt x="0" y="107670"/>
                  </a:cubicBez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15"/>
            <p:cNvSpPr/>
            <p:nvPr/>
          </p:nvSpPr>
          <p:spPr>
            <a:xfrm>
              <a:off x="2373659" y="1582290"/>
              <a:ext cx="397711" cy="625506"/>
            </a:xfrm>
            <a:custGeom>
              <a:avLst/>
              <a:gdLst/>
              <a:ahLst/>
              <a:cxnLst/>
              <a:rect l="l" t="t" r="r" b="b"/>
              <a:pathLst>
                <a:path w="397711" h="625506" extrusionOk="0">
                  <a:moveTo>
                    <a:pt x="311306" y="0"/>
                  </a:moveTo>
                  <a:lnTo>
                    <a:pt x="33079" y="271272"/>
                  </a:lnTo>
                  <a:lnTo>
                    <a:pt x="0" y="625507"/>
                  </a:lnTo>
                  <a:lnTo>
                    <a:pt x="336495" y="456438"/>
                  </a:lnTo>
                  <a:lnTo>
                    <a:pt x="397711" y="24384"/>
                  </a:lnTo>
                  <a:lnTo>
                    <a:pt x="3113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15"/>
            <p:cNvSpPr/>
            <p:nvPr/>
          </p:nvSpPr>
          <p:spPr>
            <a:xfrm>
              <a:off x="3144177" y="1582290"/>
              <a:ext cx="397710" cy="625506"/>
            </a:xfrm>
            <a:custGeom>
              <a:avLst/>
              <a:gdLst/>
              <a:ahLst/>
              <a:cxnLst/>
              <a:rect l="l" t="t" r="r" b="b"/>
              <a:pathLst>
                <a:path w="397710" h="625506" extrusionOk="0">
                  <a:moveTo>
                    <a:pt x="86405" y="0"/>
                  </a:moveTo>
                  <a:lnTo>
                    <a:pt x="364537" y="271272"/>
                  </a:lnTo>
                  <a:lnTo>
                    <a:pt x="397711" y="625507"/>
                  </a:lnTo>
                  <a:lnTo>
                    <a:pt x="59980" y="444722"/>
                  </a:lnTo>
                  <a:lnTo>
                    <a:pt x="0" y="24384"/>
                  </a:lnTo>
                  <a:lnTo>
                    <a:pt x="8640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" name="Google Shape;416;p15"/>
            <p:cNvSpPr/>
            <p:nvPr/>
          </p:nvSpPr>
          <p:spPr>
            <a:xfrm>
              <a:off x="2815951" y="2102641"/>
              <a:ext cx="276610" cy="160020"/>
            </a:xfrm>
            <a:custGeom>
              <a:avLst/>
              <a:gdLst/>
              <a:ahLst/>
              <a:cxnLst/>
              <a:rect l="l" t="t" r="r" b="b"/>
              <a:pathLst>
                <a:path w="276610" h="160020" extrusionOk="0">
                  <a:moveTo>
                    <a:pt x="276611" y="80010"/>
                  </a:moveTo>
                  <a:cubicBezTo>
                    <a:pt x="276611" y="124198"/>
                    <a:pt x="214689" y="160020"/>
                    <a:pt x="138305" y="160020"/>
                  </a:cubicBezTo>
                  <a:cubicBezTo>
                    <a:pt x="61921" y="160020"/>
                    <a:pt x="0" y="124198"/>
                    <a:pt x="0" y="80010"/>
                  </a:cubicBezTo>
                  <a:cubicBezTo>
                    <a:pt x="0" y="35822"/>
                    <a:pt x="61921" y="0"/>
                    <a:pt x="138305" y="0"/>
                  </a:cubicBezTo>
                  <a:cubicBezTo>
                    <a:pt x="214689" y="0"/>
                    <a:pt x="276611" y="35822"/>
                    <a:pt x="276611" y="80010"/>
                  </a:cubicBezTo>
                  <a:close/>
                </a:path>
              </a:pathLst>
            </a:custGeom>
            <a:solidFill>
              <a:srgbClr val="42495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7" name="Google Shape;417;p15"/>
            <p:cNvSpPr/>
            <p:nvPr/>
          </p:nvSpPr>
          <p:spPr>
            <a:xfrm>
              <a:off x="2744565" y="2030632"/>
              <a:ext cx="418908" cy="74675"/>
            </a:xfrm>
            <a:custGeom>
              <a:avLst/>
              <a:gdLst/>
              <a:ahLst/>
              <a:cxnLst/>
              <a:rect l="l" t="t" r="r" b="b"/>
              <a:pathLst>
                <a:path w="418908" h="74675" extrusionOk="0">
                  <a:moveTo>
                    <a:pt x="0" y="72009"/>
                  </a:moveTo>
                  <a:lnTo>
                    <a:pt x="0" y="0"/>
                  </a:lnTo>
                  <a:lnTo>
                    <a:pt x="418908" y="0"/>
                  </a:lnTo>
                  <a:lnTo>
                    <a:pt x="418908" y="74676"/>
                  </a:lnTo>
                  <a:lnTo>
                    <a:pt x="0" y="72009"/>
                  </a:lnTo>
                  <a:close/>
                </a:path>
              </a:pathLst>
            </a:custGeom>
            <a:solidFill>
              <a:srgbClr val="4949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15"/>
            <p:cNvSpPr/>
            <p:nvPr/>
          </p:nvSpPr>
          <p:spPr>
            <a:xfrm>
              <a:off x="2744565" y="1981197"/>
              <a:ext cx="419383" cy="242697"/>
            </a:xfrm>
            <a:custGeom>
              <a:avLst/>
              <a:gdLst/>
              <a:ahLst/>
              <a:cxnLst/>
              <a:rect l="l" t="t" r="r" b="b"/>
              <a:pathLst>
                <a:path w="419383" h="242697" extrusionOk="0">
                  <a:moveTo>
                    <a:pt x="419384" y="121348"/>
                  </a:moveTo>
                  <a:cubicBezTo>
                    <a:pt x="419384" y="188367"/>
                    <a:pt x="325501" y="242697"/>
                    <a:pt x="209692" y="242697"/>
                  </a:cubicBezTo>
                  <a:cubicBezTo>
                    <a:pt x="93882" y="242697"/>
                    <a:pt x="0" y="188367"/>
                    <a:pt x="0" y="121348"/>
                  </a:cubicBezTo>
                  <a:cubicBezTo>
                    <a:pt x="0" y="54330"/>
                    <a:pt x="93882" y="0"/>
                    <a:pt x="209692" y="0"/>
                  </a:cubicBezTo>
                  <a:cubicBezTo>
                    <a:pt x="325501" y="0"/>
                    <a:pt x="419384" y="54329"/>
                    <a:pt x="419384" y="12134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5"/>
            <p:cNvSpPr/>
            <p:nvPr/>
          </p:nvSpPr>
          <p:spPr>
            <a:xfrm>
              <a:off x="2697703" y="1845275"/>
              <a:ext cx="511777" cy="296036"/>
            </a:xfrm>
            <a:custGeom>
              <a:avLst/>
              <a:gdLst/>
              <a:ahLst/>
              <a:cxnLst/>
              <a:rect l="l" t="t" r="r" b="b"/>
              <a:pathLst>
                <a:path w="511777" h="296036" extrusionOk="0">
                  <a:moveTo>
                    <a:pt x="511777" y="148019"/>
                  </a:moveTo>
                  <a:cubicBezTo>
                    <a:pt x="511777" y="229767"/>
                    <a:pt x="397212" y="296037"/>
                    <a:pt x="255889" y="296037"/>
                  </a:cubicBezTo>
                  <a:cubicBezTo>
                    <a:pt x="114565" y="296037"/>
                    <a:pt x="0" y="229767"/>
                    <a:pt x="0" y="148019"/>
                  </a:cubicBezTo>
                  <a:cubicBezTo>
                    <a:pt x="0" y="66270"/>
                    <a:pt x="114565" y="0"/>
                    <a:pt x="255889" y="0"/>
                  </a:cubicBezTo>
                  <a:cubicBezTo>
                    <a:pt x="397212" y="0"/>
                    <a:pt x="511777" y="66270"/>
                    <a:pt x="511777" y="148019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" name="Google Shape;420;p15"/>
            <p:cNvSpPr/>
            <p:nvPr/>
          </p:nvSpPr>
          <p:spPr>
            <a:xfrm>
              <a:off x="2681484" y="530635"/>
              <a:ext cx="548516" cy="1538895"/>
            </a:xfrm>
            <a:custGeom>
              <a:avLst/>
              <a:gdLst/>
              <a:ahLst/>
              <a:cxnLst/>
              <a:rect l="l" t="t" r="r" b="b"/>
              <a:pathLst>
                <a:path w="548516" h="1538895" extrusionOk="0">
                  <a:moveTo>
                    <a:pt x="548433" y="1199007"/>
                  </a:moveTo>
                  <a:lnTo>
                    <a:pt x="548433" y="1199007"/>
                  </a:lnTo>
                  <a:cubicBezTo>
                    <a:pt x="548433" y="1210913"/>
                    <a:pt x="548433" y="1222629"/>
                    <a:pt x="548433" y="1233964"/>
                  </a:cubicBezTo>
                  <a:cubicBezTo>
                    <a:pt x="548433" y="1243489"/>
                    <a:pt x="548433" y="1253014"/>
                    <a:pt x="548433" y="1262539"/>
                  </a:cubicBezTo>
                  <a:cubicBezTo>
                    <a:pt x="548433" y="1275398"/>
                    <a:pt x="547767" y="1287685"/>
                    <a:pt x="547292" y="1299686"/>
                  </a:cubicBezTo>
                  <a:cubicBezTo>
                    <a:pt x="547292" y="1314641"/>
                    <a:pt x="546246" y="1328833"/>
                    <a:pt x="545486" y="1342454"/>
                  </a:cubicBezTo>
                  <a:cubicBezTo>
                    <a:pt x="544725" y="1356074"/>
                    <a:pt x="544060" y="1369409"/>
                    <a:pt x="543109" y="1381697"/>
                  </a:cubicBezTo>
                  <a:cubicBezTo>
                    <a:pt x="539212" y="1435513"/>
                    <a:pt x="539307" y="1475137"/>
                    <a:pt x="532653" y="1490662"/>
                  </a:cubicBezTo>
                  <a:cubicBezTo>
                    <a:pt x="496437" y="1575530"/>
                    <a:pt x="373911" y="1528762"/>
                    <a:pt x="313456" y="1498283"/>
                  </a:cubicBezTo>
                  <a:cubicBezTo>
                    <a:pt x="291118" y="1487043"/>
                    <a:pt x="276384" y="1477804"/>
                    <a:pt x="276384" y="1477804"/>
                  </a:cubicBezTo>
                  <a:lnTo>
                    <a:pt x="270871" y="1477804"/>
                  </a:lnTo>
                  <a:cubicBezTo>
                    <a:pt x="270871" y="1477804"/>
                    <a:pt x="253381" y="1487329"/>
                    <a:pt x="227526" y="1497616"/>
                  </a:cubicBezTo>
                  <a:cubicBezTo>
                    <a:pt x="164124" y="1523333"/>
                    <a:pt x="51104" y="1568958"/>
                    <a:pt x="19735" y="1490377"/>
                  </a:cubicBezTo>
                  <a:cubicBezTo>
                    <a:pt x="14127" y="1476280"/>
                    <a:pt x="8519" y="1429703"/>
                    <a:pt x="5097" y="1380935"/>
                  </a:cubicBezTo>
                  <a:cubicBezTo>
                    <a:pt x="4241" y="1368743"/>
                    <a:pt x="3481" y="1355693"/>
                    <a:pt x="2721" y="1341787"/>
                  </a:cubicBezTo>
                  <a:cubicBezTo>
                    <a:pt x="1960" y="1327880"/>
                    <a:pt x="1580" y="1314069"/>
                    <a:pt x="1010" y="1299115"/>
                  </a:cubicBezTo>
                  <a:cubicBezTo>
                    <a:pt x="1010" y="1287208"/>
                    <a:pt x="344" y="1274921"/>
                    <a:pt x="59" y="1262158"/>
                  </a:cubicBezTo>
                  <a:cubicBezTo>
                    <a:pt x="59" y="1252633"/>
                    <a:pt x="59" y="1243108"/>
                    <a:pt x="59" y="1233583"/>
                  </a:cubicBezTo>
                  <a:lnTo>
                    <a:pt x="59" y="1233583"/>
                  </a:lnTo>
                  <a:lnTo>
                    <a:pt x="59" y="1198626"/>
                  </a:lnTo>
                  <a:lnTo>
                    <a:pt x="59" y="1198626"/>
                  </a:lnTo>
                  <a:cubicBezTo>
                    <a:pt x="-1652" y="866299"/>
                    <a:pt x="33518" y="334899"/>
                    <a:pt x="149676" y="108109"/>
                  </a:cubicBezTo>
                  <a:cubicBezTo>
                    <a:pt x="183230" y="42481"/>
                    <a:pt x="223534" y="2381"/>
                    <a:pt x="271727" y="0"/>
                  </a:cubicBezTo>
                  <a:lnTo>
                    <a:pt x="271727" y="0"/>
                  </a:lnTo>
                  <a:lnTo>
                    <a:pt x="277240" y="0"/>
                  </a:lnTo>
                  <a:lnTo>
                    <a:pt x="277240" y="0"/>
                  </a:lnTo>
                  <a:cubicBezTo>
                    <a:pt x="324768" y="2476"/>
                    <a:pt x="365546" y="42386"/>
                    <a:pt x="399196" y="107728"/>
                  </a:cubicBezTo>
                  <a:cubicBezTo>
                    <a:pt x="513737" y="333661"/>
                    <a:pt x="550524" y="862965"/>
                    <a:pt x="548433" y="1199007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15"/>
            <p:cNvSpPr/>
            <p:nvPr/>
          </p:nvSpPr>
          <p:spPr>
            <a:xfrm>
              <a:off x="2858251" y="1222531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9"/>
                    <a:pt x="96671" y="193739"/>
                  </a:cubicBezTo>
                  <a:cubicBezTo>
                    <a:pt x="43281" y="193739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5"/>
            <p:cNvSpPr/>
            <p:nvPr/>
          </p:nvSpPr>
          <p:spPr>
            <a:xfrm>
              <a:off x="2844088" y="1208338"/>
              <a:ext cx="221668" cy="222122"/>
            </a:xfrm>
            <a:custGeom>
              <a:avLst/>
              <a:gdLst/>
              <a:ahLst/>
              <a:cxnLst/>
              <a:rect l="l" t="t" r="r" b="b"/>
              <a:pathLst>
                <a:path w="221668" h="222122" extrusionOk="0">
                  <a:moveTo>
                    <a:pt x="110834" y="222123"/>
                  </a:moveTo>
                  <a:cubicBezTo>
                    <a:pt x="49623" y="222123"/>
                    <a:pt x="0" y="172402"/>
                    <a:pt x="0" y="111061"/>
                  </a:cubicBezTo>
                  <a:cubicBezTo>
                    <a:pt x="0" y="49720"/>
                    <a:pt x="49623" y="0"/>
                    <a:pt x="110834" y="0"/>
                  </a:cubicBezTo>
                  <a:cubicBezTo>
                    <a:pt x="172046" y="0"/>
                    <a:pt x="221669" y="49720"/>
                    <a:pt x="221669" y="111061"/>
                  </a:cubicBezTo>
                  <a:cubicBezTo>
                    <a:pt x="221617" y="172374"/>
                    <a:pt x="172025" y="222066"/>
                    <a:pt x="110834" y="222123"/>
                  </a:cubicBezTo>
                  <a:close/>
                  <a:moveTo>
                    <a:pt x="110834" y="28384"/>
                  </a:moveTo>
                  <a:cubicBezTo>
                    <a:pt x="65267" y="28327"/>
                    <a:pt x="28284" y="65303"/>
                    <a:pt x="28231" y="110966"/>
                  </a:cubicBezTo>
                  <a:cubicBezTo>
                    <a:pt x="28179" y="156629"/>
                    <a:pt x="65077" y="193681"/>
                    <a:pt x="110644" y="193738"/>
                  </a:cubicBezTo>
                  <a:cubicBezTo>
                    <a:pt x="156212" y="193796"/>
                    <a:pt x="193195" y="156820"/>
                    <a:pt x="193247" y="111157"/>
                  </a:cubicBezTo>
                  <a:cubicBezTo>
                    <a:pt x="193247" y="111128"/>
                    <a:pt x="193247" y="111090"/>
                    <a:pt x="193247" y="111061"/>
                  </a:cubicBezTo>
                  <a:cubicBezTo>
                    <a:pt x="193195" y="65456"/>
                    <a:pt x="156343" y="28489"/>
                    <a:pt x="110834" y="28384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15"/>
            <p:cNvSpPr/>
            <p:nvPr/>
          </p:nvSpPr>
          <p:spPr>
            <a:xfrm>
              <a:off x="2858251" y="937733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8"/>
                    <a:pt x="96671" y="193738"/>
                  </a:cubicBezTo>
                  <a:cubicBezTo>
                    <a:pt x="43281" y="193738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Google Shape;424;p15"/>
            <p:cNvSpPr/>
            <p:nvPr/>
          </p:nvSpPr>
          <p:spPr>
            <a:xfrm>
              <a:off x="2843898" y="923636"/>
              <a:ext cx="221858" cy="222313"/>
            </a:xfrm>
            <a:custGeom>
              <a:avLst/>
              <a:gdLst/>
              <a:ahLst/>
              <a:cxnLst/>
              <a:rect l="l" t="t" r="r" b="b"/>
              <a:pathLst>
                <a:path w="221858" h="222313" extrusionOk="0">
                  <a:moveTo>
                    <a:pt x="111025" y="222314"/>
                  </a:moveTo>
                  <a:cubicBezTo>
                    <a:pt x="49760" y="222371"/>
                    <a:pt x="52" y="172641"/>
                    <a:pt x="0" y="111252"/>
                  </a:cubicBezTo>
                  <a:cubicBezTo>
                    <a:pt x="-52" y="49861"/>
                    <a:pt x="49570" y="52"/>
                    <a:pt x="110834" y="0"/>
                  </a:cubicBezTo>
                  <a:cubicBezTo>
                    <a:pt x="172062" y="-52"/>
                    <a:pt x="221754" y="49614"/>
                    <a:pt x="221859" y="110966"/>
                  </a:cubicBezTo>
                  <a:cubicBezTo>
                    <a:pt x="221911" y="172374"/>
                    <a:pt x="172305" y="222209"/>
                    <a:pt x="111025" y="222314"/>
                  </a:cubicBezTo>
                  <a:close/>
                  <a:moveTo>
                    <a:pt x="111025" y="28575"/>
                  </a:moveTo>
                  <a:cubicBezTo>
                    <a:pt x="65457" y="28523"/>
                    <a:pt x="28474" y="65496"/>
                    <a:pt x="28422" y="111157"/>
                  </a:cubicBezTo>
                  <a:cubicBezTo>
                    <a:pt x="28369" y="156820"/>
                    <a:pt x="65267" y="193872"/>
                    <a:pt x="110834" y="193929"/>
                  </a:cubicBezTo>
                  <a:cubicBezTo>
                    <a:pt x="156402" y="193986"/>
                    <a:pt x="193385" y="157010"/>
                    <a:pt x="193437" y="111347"/>
                  </a:cubicBezTo>
                  <a:cubicBezTo>
                    <a:pt x="193437" y="111283"/>
                    <a:pt x="193437" y="111221"/>
                    <a:pt x="193437" y="111157"/>
                  </a:cubicBezTo>
                  <a:cubicBezTo>
                    <a:pt x="193490" y="65496"/>
                    <a:pt x="156592" y="28437"/>
                    <a:pt x="111025" y="28385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5"/>
            <p:cNvSpPr/>
            <p:nvPr/>
          </p:nvSpPr>
          <p:spPr>
            <a:xfrm>
              <a:off x="2680593" y="1921189"/>
              <a:ext cx="549324" cy="167997"/>
            </a:xfrm>
            <a:custGeom>
              <a:avLst/>
              <a:gdLst/>
              <a:ahLst/>
              <a:cxnLst/>
              <a:rect l="l" t="t" r="r" b="b"/>
              <a:pathLst>
                <a:path w="549324" h="167997" extrusionOk="0">
                  <a:moveTo>
                    <a:pt x="549324" y="0"/>
                  </a:moveTo>
                  <a:cubicBezTo>
                    <a:pt x="549324" y="11906"/>
                    <a:pt x="549324" y="23622"/>
                    <a:pt x="549324" y="35052"/>
                  </a:cubicBezTo>
                  <a:cubicBezTo>
                    <a:pt x="539819" y="66484"/>
                    <a:pt x="513964" y="96583"/>
                    <a:pt x="471949" y="120777"/>
                  </a:cubicBezTo>
                  <a:cubicBezTo>
                    <a:pt x="363016" y="183737"/>
                    <a:pt x="186784" y="183737"/>
                    <a:pt x="77375" y="120777"/>
                  </a:cubicBezTo>
                  <a:cubicBezTo>
                    <a:pt x="35361" y="96393"/>
                    <a:pt x="9601" y="66199"/>
                    <a:pt x="0" y="35052"/>
                  </a:cubicBezTo>
                  <a:lnTo>
                    <a:pt x="0" y="35052"/>
                  </a:lnTo>
                  <a:lnTo>
                    <a:pt x="0" y="95"/>
                  </a:lnTo>
                  <a:cubicBezTo>
                    <a:pt x="9506" y="32099"/>
                    <a:pt x="35170" y="62579"/>
                    <a:pt x="77755" y="87249"/>
                  </a:cubicBezTo>
                  <a:cubicBezTo>
                    <a:pt x="186784" y="150209"/>
                    <a:pt x="363396" y="150209"/>
                    <a:pt x="472329" y="87249"/>
                  </a:cubicBezTo>
                  <a:cubicBezTo>
                    <a:pt x="514059" y="62293"/>
                    <a:pt x="540484" y="31909"/>
                    <a:pt x="5493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15"/>
            <p:cNvSpPr/>
            <p:nvPr/>
          </p:nvSpPr>
          <p:spPr>
            <a:xfrm>
              <a:off x="2680308" y="1976244"/>
              <a:ext cx="548753" cy="165782"/>
            </a:xfrm>
            <a:custGeom>
              <a:avLst/>
              <a:gdLst/>
              <a:ahLst/>
              <a:cxnLst/>
              <a:rect l="l" t="t" r="r" b="b"/>
              <a:pathLst>
                <a:path w="548753" h="165782" extrusionOk="0">
                  <a:moveTo>
                    <a:pt x="548754" y="381"/>
                  </a:moveTo>
                  <a:cubicBezTo>
                    <a:pt x="548754" y="13145"/>
                    <a:pt x="548088" y="25527"/>
                    <a:pt x="547613" y="37433"/>
                  </a:cubicBezTo>
                  <a:cubicBezTo>
                    <a:pt x="536967" y="67151"/>
                    <a:pt x="511682" y="95441"/>
                    <a:pt x="471569" y="118491"/>
                  </a:cubicBezTo>
                  <a:cubicBezTo>
                    <a:pt x="362636" y="181546"/>
                    <a:pt x="186403" y="181546"/>
                    <a:pt x="76995" y="118491"/>
                  </a:cubicBezTo>
                  <a:cubicBezTo>
                    <a:pt x="36976" y="95250"/>
                    <a:pt x="11692" y="66770"/>
                    <a:pt x="951" y="36862"/>
                  </a:cubicBezTo>
                  <a:cubicBezTo>
                    <a:pt x="951" y="24955"/>
                    <a:pt x="285" y="12668"/>
                    <a:pt x="0" y="0"/>
                  </a:cubicBezTo>
                  <a:cubicBezTo>
                    <a:pt x="9506" y="31051"/>
                    <a:pt x="35456" y="60579"/>
                    <a:pt x="76900" y="84582"/>
                  </a:cubicBezTo>
                  <a:cubicBezTo>
                    <a:pt x="185928" y="147638"/>
                    <a:pt x="362541" y="147638"/>
                    <a:pt x="471474" y="84582"/>
                  </a:cubicBezTo>
                  <a:cubicBezTo>
                    <a:pt x="513108" y="60674"/>
                    <a:pt x="538773" y="31242"/>
                    <a:pt x="548754" y="3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15"/>
            <p:cNvSpPr/>
            <p:nvPr/>
          </p:nvSpPr>
          <p:spPr>
            <a:xfrm>
              <a:off x="2683349" y="1877470"/>
              <a:ext cx="542765" cy="158087"/>
            </a:xfrm>
            <a:custGeom>
              <a:avLst/>
              <a:gdLst/>
              <a:ahLst/>
              <a:cxnLst/>
              <a:rect l="l" t="t" r="r" b="b"/>
              <a:pathLst>
                <a:path w="542765" h="158087" extrusionOk="0">
                  <a:moveTo>
                    <a:pt x="542765" y="762"/>
                  </a:moveTo>
                  <a:cubicBezTo>
                    <a:pt x="531264" y="28670"/>
                    <a:pt x="506549" y="55245"/>
                    <a:pt x="468812" y="76962"/>
                  </a:cubicBezTo>
                  <a:cubicBezTo>
                    <a:pt x="359879" y="139922"/>
                    <a:pt x="183647" y="139922"/>
                    <a:pt x="74238" y="76962"/>
                  </a:cubicBezTo>
                  <a:cubicBezTo>
                    <a:pt x="36216" y="54864"/>
                    <a:pt x="11502" y="28194"/>
                    <a:pt x="0" y="0"/>
                  </a:cubicBezTo>
                  <a:cubicBezTo>
                    <a:pt x="760" y="13906"/>
                    <a:pt x="1521" y="26956"/>
                    <a:pt x="2376" y="39148"/>
                  </a:cubicBezTo>
                  <a:cubicBezTo>
                    <a:pt x="14639" y="65437"/>
                    <a:pt x="38592" y="90202"/>
                    <a:pt x="74238" y="110871"/>
                  </a:cubicBezTo>
                  <a:cubicBezTo>
                    <a:pt x="120732" y="136255"/>
                    <a:pt x="172028" y="151571"/>
                    <a:pt x="224806" y="155829"/>
                  </a:cubicBezTo>
                  <a:cubicBezTo>
                    <a:pt x="253246" y="158601"/>
                    <a:pt x="281876" y="158820"/>
                    <a:pt x="310355" y="156496"/>
                  </a:cubicBezTo>
                  <a:cubicBezTo>
                    <a:pt x="365732" y="152991"/>
                    <a:pt x="419677" y="137417"/>
                    <a:pt x="468432" y="110871"/>
                  </a:cubicBezTo>
                  <a:cubicBezTo>
                    <a:pt x="503793" y="90392"/>
                    <a:pt x="527652" y="65913"/>
                    <a:pt x="540009" y="399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5"/>
            <p:cNvSpPr/>
            <p:nvPr/>
          </p:nvSpPr>
          <p:spPr>
            <a:xfrm>
              <a:off x="2829449" y="530444"/>
              <a:ext cx="249519" cy="126863"/>
            </a:xfrm>
            <a:custGeom>
              <a:avLst/>
              <a:gdLst/>
              <a:ahLst/>
              <a:cxnLst/>
              <a:rect l="l" t="t" r="r" b="b"/>
              <a:pathLst>
                <a:path w="249519" h="126863" extrusionOk="0">
                  <a:moveTo>
                    <a:pt x="249520" y="108109"/>
                  </a:moveTo>
                  <a:cubicBezTo>
                    <a:pt x="168218" y="133115"/>
                    <a:pt x="81302" y="133115"/>
                    <a:pt x="0" y="108109"/>
                  </a:cubicBezTo>
                  <a:cubicBezTo>
                    <a:pt x="33555" y="42481"/>
                    <a:pt x="73858" y="2381"/>
                    <a:pt x="122051" y="0"/>
                  </a:cubicBezTo>
                  <a:lnTo>
                    <a:pt x="122051" y="0"/>
                  </a:lnTo>
                  <a:lnTo>
                    <a:pt x="127564" y="0"/>
                  </a:lnTo>
                  <a:lnTo>
                    <a:pt x="127564" y="0"/>
                  </a:lnTo>
                  <a:cubicBezTo>
                    <a:pt x="175567" y="2857"/>
                    <a:pt x="215870" y="42767"/>
                    <a:pt x="249520" y="108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15"/>
            <p:cNvSpPr/>
            <p:nvPr/>
          </p:nvSpPr>
          <p:spPr>
            <a:xfrm>
              <a:off x="2934010" y="1583052"/>
              <a:ext cx="47432" cy="623982"/>
            </a:xfrm>
            <a:custGeom>
              <a:avLst/>
              <a:gdLst/>
              <a:ahLst/>
              <a:cxnLst/>
              <a:rect l="l" t="t" r="r" b="b"/>
              <a:pathLst>
                <a:path w="47432" h="623982" extrusionOk="0">
                  <a:moveTo>
                    <a:pt x="0" y="0"/>
                  </a:moveTo>
                  <a:lnTo>
                    <a:pt x="47433" y="0"/>
                  </a:lnTo>
                  <a:lnTo>
                    <a:pt x="47433" y="623983"/>
                  </a:lnTo>
                  <a:lnTo>
                    <a:pt x="0" y="6239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30" name="Google Shape;430;p15"/>
            <p:cNvGrpSpPr/>
            <p:nvPr/>
          </p:nvGrpSpPr>
          <p:grpSpPr>
            <a:xfrm>
              <a:off x="4031993" y="117216"/>
              <a:ext cx="2889297" cy="3901793"/>
              <a:chOff x="5533368" y="1047716"/>
              <a:chExt cx="2889297" cy="3901793"/>
            </a:xfrm>
          </p:grpSpPr>
          <p:sp>
            <p:nvSpPr>
              <p:cNvPr id="431" name="Google Shape;431;p15"/>
              <p:cNvSpPr/>
              <p:nvPr/>
            </p:nvSpPr>
            <p:spPr>
              <a:xfrm>
                <a:off x="6153722" y="4072604"/>
                <a:ext cx="1090544" cy="630910"/>
              </a:xfrm>
              <a:custGeom>
                <a:avLst/>
                <a:gdLst/>
                <a:ahLst/>
                <a:cxnLst/>
                <a:rect l="l" t="t" r="r" b="b"/>
                <a:pathLst>
                  <a:path w="1090544" h="630910" extrusionOk="0">
                    <a:moveTo>
                      <a:pt x="578197" y="615410"/>
                    </a:moveTo>
                    <a:lnTo>
                      <a:pt x="26877" y="296418"/>
                    </a:lnTo>
                    <a:cubicBezTo>
                      <a:pt x="-12951" y="273367"/>
                      <a:pt x="-7913" y="233172"/>
                      <a:pt x="37998" y="206597"/>
                    </a:cubicBezTo>
                    <a:lnTo>
                      <a:pt x="395216" y="0"/>
                    </a:lnTo>
                    <a:lnTo>
                      <a:pt x="1090545" y="402241"/>
                    </a:lnTo>
                    <a:lnTo>
                      <a:pt x="733327" y="608933"/>
                    </a:lnTo>
                    <a:cubicBezTo>
                      <a:pt x="687320" y="635508"/>
                      <a:pt x="617930" y="638365"/>
                      <a:pt x="578197" y="61541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15"/>
              <p:cNvSpPr/>
              <p:nvPr/>
            </p:nvSpPr>
            <p:spPr>
              <a:xfrm>
                <a:off x="6193969" y="4048886"/>
                <a:ext cx="1090601" cy="630901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01" extrusionOk="0">
                    <a:moveTo>
                      <a:pt x="578158" y="615410"/>
                    </a:moveTo>
                    <a:lnTo>
                      <a:pt x="26838" y="296323"/>
                    </a:lnTo>
                    <a:cubicBezTo>
                      <a:pt x="-12895" y="273368"/>
                      <a:pt x="-7952" y="233172"/>
                      <a:pt x="37960" y="206597"/>
                    </a:cubicBezTo>
                    <a:lnTo>
                      <a:pt x="395272" y="0"/>
                    </a:lnTo>
                    <a:lnTo>
                      <a:pt x="1090601" y="402241"/>
                    </a:lnTo>
                    <a:lnTo>
                      <a:pt x="733764" y="608838"/>
                    </a:lnTo>
                    <a:cubicBezTo>
                      <a:pt x="687377" y="635508"/>
                      <a:pt x="617891" y="638366"/>
                      <a:pt x="578158" y="61541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15"/>
              <p:cNvSpPr/>
              <p:nvPr/>
            </p:nvSpPr>
            <p:spPr>
              <a:xfrm>
                <a:off x="7252346" y="4430077"/>
                <a:ext cx="32128" cy="21050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21050" extrusionOk="0">
                    <a:moveTo>
                      <a:pt x="32129" y="21050"/>
                    </a:moveTo>
                    <a:lnTo>
                      <a:pt x="32129" y="0"/>
                    </a:lnTo>
                    <a:lnTo>
                      <a:pt x="0" y="18574"/>
                    </a:lnTo>
                    <a:lnTo>
                      <a:pt x="32129" y="2105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15"/>
              <p:cNvSpPr/>
              <p:nvPr/>
            </p:nvSpPr>
            <p:spPr>
              <a:xfrm>
                <a:off x="6193906" y="4285773"/>
                <a:ext cx="32984" cy="21431"/>
              </a:xfrm>
              <a:custGeom>
                <a:avLst/>
                <a:gdLst/>
                <a:ahLst/>
                <a:cxnLst/>
                <a:rect l="l" t="t" r="r" b="b"/>
                <a:pathLst>
                  <a:path w="32984" h="21431" extrusionOk="0">
                    <a:moveTo>
                      <a:pt x="0" y="21431"/>
                    </a:moveTo>
                    <a:lnTo>
                      <a:pt x="0" y="0"/>
                    </a:lnTo>
                    <a:lnTo>
                      <a:pt x="32984" y="13716"/>
                    </a:lnTo>
                    <a:lnTo>
                      <a:pt x="0" y="214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15"/>
              <p:cNvSpPr/>
              <p:nvPr/>
            </p:nvSpPr>
            <p:spPr>
              <a:xfrm>
                <a:off x="6193969" y="4027741"/>
                <a:ext cx="1090601" cy="630949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49" extrusionOk="0">
                    <a:moveTo>
                      <a:pt x="578158" y="615410"/>
                    </a:moveTo>
                    <a:lnTo>
                      <a:pt x="26838" y="296418"/>
                    </a:lnTo>
                    <a:cubicBezTo>
                      <a:pt x="-12895" y="273368"/>
                      <a:pt x="-7952" y="233267"/>
                      <a:pt x="37960" y="206693"/>
                    </a:cubicBezTo>
                    <a:lnTo>
                      <a:pt x="395272" y="0"/>
                    </a:lnTo>
                    <a:lnTo>
                      <a:pt x="1090601" y="402336"/>
                    </a:lnTo>
                    <a:lnTo>
                      <a:pt x="733764" y="608934"/>
                    </a:lnTo>
                    <a:cubicBezTo>
                      <a:pt x="687377" y="635508"/>
                      <a:pt x="617891" y="638461"/>
                      <a:pt x="578158" y="615410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15"/>
              <p:cNvSpPr/>
              <p:nvPr/>
            </p:nvSpPr>
            <p:spPr>
              <a:xfrm>
                <a:off x="6504927" y="3742563"/>
                <a:ext cx="779547" cy="687514"/>
              </a:xfrm>
              <a:custGeom>
                <a:avLst/>
                <a:gdLst/>
                <a:ahLst/>
                <a:cxnLst/>
                <a:rect l="l" t="t" r="r" b="b"/>
                <a:pathLst>
                  <a:path w="779547" h="687514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0"/>
                    </a:lnTo>
                    <a:lnTo>
                      <a:pt x="779548" y="687514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15"/>
              <p:cNvSpPr/>
              <p:nvPr/>
            </p:nvSpPr>
            <p:spPr>
              <a:xfrm>
                <a:off x="7254152" y="4405788"/>
                <a:ext cx="30322" cy="36004"/>
              </a:xfrm>
              <a:custGeom>
                <a:avLst/>
                <a:gdLst/>
                <a:ahLst/>
                <a:cxnLst/>
                <a:rect l="l" t="t" r="r" b="b"/>
                <a:pathLst>
                  <a:path w="30322" h="36004" extrusionOk="0">
                    <a:moveTo>
                      <a:pt x="9981" y="36004"/>
                    </a:moveTo>
                    <a:lnTo>
                      <a:pt x="30323" y="242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15"/>
              <p:cNvSpPr/>
              <p:nvPr/>
            </p:nvSpPr>
            <p:spPr>
              <a:xfrm>
                <a:off x="6482779" y="3753326"/>
                <a:ext cx="781258" cy="688466"/>
              </a:xfrm>
              <a:custGeom>
                <a:avLst/>
                <a:gdLst/>
                <a:ahLst/>
                <a:cxnLst/>
                <a:rect l="l" t="t" r="r" b="b"/>
                <a:pathLst>
                  <a:path w="781258" h="688466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1"/>
                    </a:lnTo>
                    <a:lnTo>
                      <a:pt x="781259" y="688467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15"/>
              <p:cNvSpPr/>
              <p:nvPr/>
            </p:nvSpPr>
            <p:spPr>
              <a:xfrm>
                <a:off x="5563120" y="1047716"/>
                <a:ext cx="2859545" cy="3884751"/>
              </a:xfrm>
              <a:custGeom>
                <a:avLst/>
                <a:gdLst/>
                <a:ahLst/>
                <a:cxnLst/>
                <a:rect l="l" t="t" r="r" b="b"/>
                <a:pathLst>
                  <a:path w="2859545" h="3884751" extrusionOk="0">
                    <a:moveTo>
                      <a:pt x="2790441" y="3876709"/>
                    </a:moveTo>
                    <a:lnTo>
                      <a:pt x="69105" y="2302131"/>
                    </a:lnTo>
                    <a:cubicBezTo>
                      <a:pt x="31083" y="2280033"/>
                      <a:pt x="0" y="2220787"/>
                      <a:pt x="0" y="2169829"/>
                    </a:cubicBezTo>
                    <a:lnTo>
                      <a:pt x="0" y="60708"/>
                    </a:lnTo>
                    <a:cubicBezTo>
                      <a:pt x="0" y="9654"/>
                      <a:pt x="30988" y="-13778"/>
                      <a:pt x="69105" y="8320"/>
                    </a:cubicBezTo>
                    <a:lnTo>
                      <a:pt x="2790441" y="1582517"/>
                    </a:lnTo>
                    <a:cubicBezTo>
                      <a:pt x="2828463" y="1604615"/>
                      <a:pt x="2859546" y="1663861"/>
                      <a:pt x="2859546" y="1714819"/>
                    </a:cubicBezTo>
                    <a:lnTo>
                      <a:pt x="2859546" y="3823940"/>
                    </a:lnTo>
                    <a:cubicBezTo>
                      <a:pt x="2859261" y="3874899"/>
                      <a:pt x="2828463" y="3898330"/>
                      <a:pt x="2790441" y="3876709"/>
                    </a:cubicBez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15"/>
              <p:cNvSpPr/>
              <p:nvPr/>
            </p:nvSpPr>
            <p:spPr>
              <a:xfrm>
                <a:off x="8367249" y="4838795"/>
                <a:ext cx="30132" cy="106965"/>
              </a:xfrm>
              <a:custGeom>
                <a:avLst/>
                <a:gdLst/>
                <a:ahLst/>
                <a:cxnLst/>
                <a:rect l="l" t="t" r="r" b="b"/>
                <a:pathLst>
                  <a:path w="30132" h="106965" extrusionOk="0">
                    <a:moveTo>
                      <a:pt x="0" y="106966"/>
                    </a:moveTo>
                    <a:lnTo>
                      <a:pt x="30132" y="89535"/>
                    </a:lnTo>
                    <a:lnTo>
                      <a:pt x="17110" y="0"/>
                    </a:lnTo>
                    <a:lnTo>
                      <a:pt x="0" y="106966"/>
                    </a:ln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15"/>
              <p:cNvSpPr/>
              <p:nvPr/>
            </p:nvSpPr>
            <p:spPr>
              <a:xfrm>
                <a:off x="5558272" y="1051845"/>
                <a:ext cx="72337" cy="31155"/>
              </a:xfrm>
              <a:custGeom>
                <a:avLst/>
                <a:gdLst/>
                <a:ahLst/>
                <a:cxnLst/>
                <a:rect l="l" t="t" r="r" b="b"/>
                <a:pathLst>
                  <a:path w="72337" h="31155" extrusionOk="0">
                    <a:moveTo>
                      <a:pt x="0" y="17240"/>
                    </a:moveTo>
                    <a:lnTo>
                      <a:pt x="29657" y="0"/>
                    </a:lnTo>
                    <a:lnTo>
                      <a:pt x="72337" y="24479"/>
                    </a:lnTo>
                    <a:cubicBezTo>
                      <a:pt x="72337" y="24479"/>
                      <a:pt x="26901" y="31433"/>
                      <a:pt x="25760" y="31147"/>
                    </a:cubicBezTo>
                    <a:cubicBezTo>
                      <a:pt x="24619" y="30861"/>
                      <a:pt x="0" y="17240"/>
                      <a:pt x="0" y="1724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15"/>
              <p:cNvSpPr/>
              <p:nvPr/>
            </p:nvSpPr>
            <p:spPr>
              <a:xfrm>
                <a:off x="5538216" y="1062192"/>
                <a:ext cx="2859165" cy="3884558"/>
              </a:xfrm>
              <a:custGeom>
                <a:avLst/>
                <a:gdLst/>
                <a:ahLst/>
                <a:cxnLst/>
                <a:rect l="l" t="t" r="r" b="b"/>
                <a:pathLst>
                  <a:path w="2859165" h="3884558" extrusionOk="0">
                    <a:moveTo>
                      <a:pt x="2790061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789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893" y="-13776"/>
                      <a:pt x="69105" y="8322"/>
                    </a:cubicBezTo>
                    <a:lnTo>
                      <a:pt x="2790061" y="1582519"/>
                    </a:lnTo>
                    <a:cubicBezTo>
                      <a:pt x="2828083" y="1604617"/>
                      <a:pt x="2859166" y="1663862"/>
                      <a:pt x="2859166" y="1714821"/>
                    </a:cubicBezTo>
                    <a:lnTo>
                      <a:pt x="2859166" y="3824132"/>
                    </a:lnTo>
                    <a:cubicBezTo>
                      <a:pt x="2859166" y="3874900"/>
                      <a:pt x="2828273" y="3898332"/>
                      <a:pt x="2790061" y="3876234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15"/>
              <p:cNvSpPr/>
              <p:nvPr/>
            </p:nvSpPr>
            <p:spPr>
              <a:xfrm>
                <a:off x="5533368" y="1064955"/>
                <a:ext cx="2859260" cy="3884554"/>
              </a:xfrm>
              <a:custGeom>
                <a:avLst/>
                <a:gdLst/>
                <a:ahLst/>
                <a:cxnLst/>
                <a:rect l="l" t="t" r="r" b="b"/>
                <a:pathLst>
                  <a:path w="2859260" h="3884554" extrusionOk="0">
                    <a:moveTo>
                      <a:pt x="2790156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694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988" y="-13776"/>
                      <a:pt x="69105" y="8322"/>
                    </a:cubicBezTo>
                    <a:lnTo>
                      <a:pt x="2790156" y="1582995"/>
                    </a:lnTo>
                    <a:cubicBezTo>
                      <a:pt x="2828178" y="1604998"/>
                      <a:pt x="2859261" y="1664243"/>
                      <a:pt x="2859261" y="1715297"/>
                    </a:cubicBezTo>
                    <a:lnTo>
                      <a:pt x="2859261" y="3823847"/>
                    </a:lnTo>
                    <a:cubicBezTo>
                      <a:pt x="2859261" y="3874900"/>
                      <a:pt x="2828273" y="3898332"/>
                      <a:pt x="2790156" y="38762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44;p15"/>
              <p:cNvSpPr/>
              <p:nvPr/>
            </p:nvSpPr>
            <p:spPr>
              <a:xfrm>
                <a:off x="5568443" y="1110406"/>
                <a:ext cx="2788159" cy="3702480"/>
              </a:xfrm>
              <a:custGeom>
                <a:avLst/>
                <a:gdLst/>
                <a:ahLst/>
                <a:cxnLst/>
                <a:rect l="l" t="t" r="r" b="b"/>
                <a:pathLst>
                  <a:path w="2788159" h="3702480" extrusionOk="0">
                    <a:moveTo>
                      <a:pt x="2786734" y="3702481"/>
                    </a:moveTo>
                    <a:lnTo>
                      <a:pt x="0" y="2089993"/>
                    </a:lnTo>
                    <a:lnTo>
                      <a:pt x="951" y="23640"/>
                    </a:lnTo>
                    <a:cubicBezTo>
                      <a:pt x="951" y="2494"/>
                      <a:pt x="15779" y="-6078"/>
                      <a:pt x="34030" y="4590"/>
                    </a:cubicBezTo>
                    <a:lnTo>
                      <a:pt x="2755080" y="1578691"/>
                    </a:lnTo>
                    <a:cubicBezTo>
                      <a:pt x="2774529" y="1591407"/>
                      <a:pt x="2786800" y="1612610"/>
                      <a:pt x="2788160" y="16358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45;p15"/>
              <p:cNvSpPr/>
              <p:nvPr/>
            </p:nvSpPr>
            <p:spPr>
              <a:xfrm>
                <a:off x="5762166" y="1403396"/>
                <a:ext cx="919754" cy="618313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13" extrusionOk="0">
                    <a:moveTo>
                      <a:pt x="906256" y="616665"/>
                    </a:moveTo>
                    <a:lnTo>
                      <a:pt x="13498" y="100220"/>
                    </a:lnTo>
                    <a:cubicBezTo>
                      <a:pt x="5142" y="94185"/>
                      <a:pt x="133" y="84538"/>
                      <a:pt x="0" y="74217"/>
                    </a:cubicBezTo>
                    <a:lnTo>
                      <a:pt x="0" y="11828"/>
                    </a:lnTo>
                    <a:cubicBezTo>
                      <a:pt x="0" y="2303"/>
                      <a:pt x="5988" y="-2745"/>
                      <a:pt x="13498" y="1541"/>
                    </a:cubicBezTo>
                    <a:lnTo>
                      <a:pt x="906256" y="517986"/>
                    </a:lnTo>
                    <a:cubicBezTo>
                      <a:pt x="914574" y="524052"/>
                      <a:pt x="919574" y="533680"/>
                      <a:pt x="919754" y="543990"/>
                    </a:cubicBezTo>
                    <a:lnTo>
                      <a:pt x="919754" y="606378"/>
                    </a:lnTo>
                    <a:cubicBezTo>
                      <a:pt x="919754" y="616380"/>
                      <a:pt x="913671" y="621047"/>
                      <a:pt x="906256" y="61666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15"/>
              <p:cNvSpPr/>
              <p:nvPr/>
            </p:nvSpPr>
            <p:spPr>
              <a:xfrm>
                <a:off x="5766158" y="1584712"/>
                <a:ext cx="686298" cy="451951"/>
              </a:xfrm>
              <a:custGeom>
                <a:avLst/>
                <a:gdLst/>
                <a:ahLst/>
                <a:cxnLst/>
                <a:rect l="l" t="t" r="r" b="b"/>
                <a:pathLst>
                  <a:path w="686298" h="451951" extrusionOk="0">
                    <a:moveTo>
                      <a:pt x="672991" y="450304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057"/>
                    </a:lnTo>
                    <a:cubicBezTo>
                      <a:pt x="681261" y="389103"/>
                      <a:pt x="686194" y="398708"/>
                      <a:pt x="686299" y="408965"/>
                    </a:cubicBezTo>
                    <a:lnTo>
                      <a:pt x="686299" y="440017"/>
                    </a:lnTo>
                    <a:cubicBezTo>
                      <a:pt x="686299" y="450018"/>
                      <a:pt x="680405" y="454685"/>
                      <a:pt x="672991" y="45030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15"/>
              <p:cNvSpPr/>
              <p:nvPr/>
            </p:nvSpPr>
            <p:spPr>
              <a:xfrm>
                <a:off x="5766158" y="1702632"/>
                <a:ext cx="686488" cy="45175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759" extrusionOk="0">
                    <a:moveTo>
                      <a:pt x="672991" y="450018"/>
                    </a:moveTo>
                    <a:lnTo>
                      <a:pt x="13593" y="69018"/>
                    </a:lnTo>
                    <a:cubicBezTo>
                      <a:pt x="5199" y="63044"/>
                      <a:pt x="152" y="53422"/>
                      <a:pt x="0" y="43110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343"/>
                    </a:lnTo>
                    <a:cubicBezTo>
                      <a:pt x="681337" y="389344"/>
                      <a:pt x="686337" y="398964"/>
                      <a:pt x="686489" y="409251"/>
                    </a:cubicBezTo>
                    <a:lnTo>
                      <a:pt x="686489" y="440302"/>
                    </a:lnTo>
                    <a:cubicBezTo>
                      <a:pt x="686299" y="450018"/>
                      <a:pt x="680405" y="454495"/>
                      <a:pt x="672991" y="45001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48;p15"/>
              <p:cNvSpPr/>
              <p:nvPr/>
            </p:nvSpPr>
            <p:spPr>
              <a:xfrm>
                <a:off x="5766158" y="1820170"/>
                <a:ext cx="562156" cy="379997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97" extrusionOk="0">
                    <a:moveTo>
                      <a:pt x="548564" y="378390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548564" y="311048"/>
                    </a:lnTo>
                    <a:cubicBezTo>
                      <a:pt x="556948" y="317077"/>
                      <a:pt x="561985" y="326717"/>
                      <a:pt x="562157" y="337051"/>
                    </a:cubicBezTo>
                    <a:lnTo>
                      <a:pt x="562157" y="368103"/>
                    </a:lnTo>
                    <a:cubicBezTo>
                      <a:pt x="562157" y="378104"/>
                      <a:pt x="556073" y="382676"/>
                      <a:pt x="548564" y="3783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15"/>
              <p:cNvSpPr/>
              <p:nvPr/>
            </p:nvSpPr>
            <p:spPr>
              <a:xfrm>
                <a:off x="5762166" y="2639293"/>
                <a:ext cx="919754" cy="618340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40" extrusionOk="0">
                    <a:moveTo>
                      <a:pt x="906256" y="616732"/>
                    </a:moveTo>
                    <a:lnTo>
                      <a:pt x="13498" y="100287"/>
                    </a:lnTo>
                    <a:cubicBezTo>
                      <a:pt x="5142" y="94248"/>
                      <a:pt x="133" y="84609"/>
                      <a:pt x="0" y="74284"/>
                    </a:cubicBezTo>
                    <a:lnTo>
                      <a:pt x="0" y="11895"/>
                    </a:lnTo>
                    <a:cubicBezTo>
                      <a:pt x="0" y="1894"/>
                      <a:pt x="5988" y="-2678"/>
                      <a:pt x="13498" y="1608"/>
                    </a:cubicBezTo>
                    <a:lnTo>
                      <a:pt x="906256" y="518053"/>
                    </a:lnTo>
                    <a:cubicBezTo>
                      <a:pt x="914574" y="524121"/>
                      <a:pt x="919574" y="533751"/>
                      <a:pt x="919754" y="544057"/>
                    </a:cubicBezTo>
                    <a:lnTo>
                      <a:pt x="919754" y="606445"/>
                    </a:lnTo>
                    <a:cubicBezTo>
                      <a:pt x="919754" y="616447"/>
                      <a:pt x="913671" y="621019"/>
                      <a:pt x="906256" y="61673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15"/>
              <p:cNvSpPr/>
              <p:nvPr/>
            </p:nvSpPr>
            <p:spPr>
              <a:xfrm>
                <a:off x="5766158" y="2821069"/>
                <a:ext cx="686488" cy="45151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519" extrusionOk="0">
                    <a:moveTo>
                      <a:pt x="672991" y="449910"/>
                    </a:moveTo>
                    <a:lnTo>
                      <a:pt x="13593" y="68910"/>
                    </a:lnTo>
                    <a:cubicBezTo>
                      <a:pt x="5209" y="62881"/>
                      <a:pt x="171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672991" y="382664"/>
                    </a:lnTo>
                    <a:cubicBezTo>
                      <a:pt x="681308" y="388731"/>
                      <a:pt x="686308" y="398361"/>
                      <a:pt x="686489" y="408667"/>
                    </a:cubicBezTo>
                    <a:lnTo>
                      <a:pt x="686489" y="439719"/>
                    </a:lnTo>
                    <a:cubicBezTo>
                      <a:pt x="686299" y="449625"/>
                      <a:pt x="680405" y="454197"/>
                      <a:pt x="672991" y="44991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51;p15"/>
              <p:cNvSpPr/>
              <p:nvPr/>
            </p:nvSpPr>
            <p:spPr>
              <a:xfrm>
                <a:off x="5766158" y="2938486"/>
                <a:ext cx="686488" cy="451826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826" extrusionOk="0">
                    <a:moveTo>
                      <a:pt x="672991" y="450223"/>
                    </a:moveTo>
                    <a:lnTo>
                      <a:pt x="13593" y="68747"/>
                    </a:lnTo>
                    <a:cubicBezTo>
                      <a:pt x="5228" y="62756"/>
                      <a:pt x="190" y="53145"/>
                      <a:pt x="0" y="42839"/>
                    </a:cubicBezTo>
                    <a:lnTo>
                      <a:pt x="0" y="11787"/>
                    </a:lnTo>
                    <a:cubicBezTo>
                      <a:pt x="0" y="2262"/>
                      <a:pt x="6084" y="-2786"/>
                      <a:pt x="13593" y="1595"/>
                    </a:cubicBezTo>
                    <a:lnTo>
                      <a:pt x="672991" y="382595"/>
                    </a:lnTo>
                    <a:cubicBezTo>
                      <a:pt x="681308" y="388663"/>
                      <a:pt x="686308" y="398293"/>
                      <a:pt x="686489" y="408599"/>
                    </a:cubicBezTo>
                    <a:lnTo>
                      <a:pt x="686489" y="439650"/>
                    </a:lnTo>
                    <a:cubicBezTo>
                      <a:pt x="686299" y="449937"/>
                      <a:pt x="680405" y="454509"/>
                      <a:pt x="672991" y="45022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15"/>
              <p:cNvSpPr/>
              <p:nvPr/>
            </p:nvSpPr>
            <p:spPr>
              <a:xfrm>
                <a:off x="5766158" y="3056051"/>
                <a:ext cx="562156" cy="379920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20" extrusionOk="0">
                    <a:moveTo>
                      <a:pt x="548564" y="378378"/>
                    </a:moveTo>
                    <a:lnTo>
                      <a:pt x="13593" y="68910"/>
                    </a:lnTo>
                    <a:cubicBezTo>
                      <a:pt x="5199" y="62900"/>
                      <a:pt x="152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548564" y="311131"/>
                    </a:lnTo>
                    <a:cubicBezTo>
                      <a:pt x="556948" y="317161"/>
                      <a:pt x="561985" y="326800"/>
                      <a:pt x="562157" y="337134"/>
                    </a:cubicBezTo>
                    <a:lnTo>
                      <a:pt x="562157" y="368186"/>
                    </a:lnTo>
                    <a:cubicBezTo>
                      <a:pt x="562157" y="378187"/>
                      <a:pt x="556073" y="382473"/>
                      <a:pt x="548564" y="378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53;p15"/>
              <p:cNvSpPr/>
              <p:nvPr/>
            </p:nvSpPr>
            <p:spPr>
              <a:xfrm>
                <a:off x="6897600" y="3332192"/>
                <a:ext cx="1250451" cy="1162368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62368" extrusionOk="0">
                    <a:moveTo>
                      <a:pt x="9696" y="77186"/>
                    </a:moveTo>
                    <a:cubicBezTo>
                      <a:pt x="9696" y="77186"/>
                      <a:pt x="108173" y="160053"/>
                      <a:pt x="250376" y="46896"/>
                    </a:cubicBezTo>
                    <a:cubicBezTo>
                      <a:pt x="351895" y="-36543"/>
                      <a:pt x="442672" y="11082"/>
                      <a:pt x="493242" y="39657"/>
                    </a:cubicBezTo>
                    <a:cubicBezTo>
                      <a:pt x="543811" y="68232"/>
                      <a:pt x="616813" y="85758"/>
                      <a:pt x="755879" y="337409"/>
                    </a:cubicBezTo>
                    <a:cubicBezTo>
                      <a:pt x="755879" y="337409"/>
                      <a:pt x="801125" y="416276"/>
                      <a:pt x="875839" y="459519"/>
                    </a:cubicBezTo>
                    <a:cubicBezTo>
                      <a:pt x="950552" y="502763"/>
                      <a:pt x="986483" y="481617"/>
                      <a:pt x="1045227" y="392844"/>
                    </a:cubicBezTo>
                    <a:cubicBezTo>
                      <a:pt x="1103971" y="304071"/>
                      <a:pt x="1142469" y="205773"/>
                      <a:pt x="1250452" y="269972"/>
                    </a:cubicBezTo>
                    <a:lnTo>
                      <a:pt x="1250452" y="1162369"/>
                    </a:lnTo>
                    <a:lnTo>
                      <a:pt x="0" y="439707"/>
                    </a:lnTo>
                    <a:lnTo>
                      <a:pt x="0" y="71375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54;p15"/>
              <p:cNvSpPr/>
              <p:nvPr/>
            </p:nvSpPr>
            <p:spPr>
              <a:xfrm>
                <a:off x="5766443" y="2003281"/>
                <a:ext cx="882682" cy="1029375"/>
              </a:xfrm>
              <a:custGeom>
                <a:avLst/>
                <a:gdLst/>
                <a:ahLst/>
                <a:cxnLst/>
                <a:rect l="l" t="t" r="r" b="b"/>
                <a:pathLst>
                  <a:path w="882682" h="1029375" extrusionOk="0">
                    <a:moveTo>
                      <a:pt x="869090" y="1027764"/>
                    </a:moveTo>
                    <a:lnTo>
                      <a:pt x="13593" y="532464"/>
                    </a:lnTo>
                    <a:cubicBezTo>
                      <a:pt x="5209" y="526435"/>
                      <a:pt x="171" y="516796"/>
                      <a:pt x="0" y="506461"/>
                    </a:cubicBezTo>
                    <a:lnTo>
                      <a:pt x="0" y="11828"/>
                    </a:lnTo>
                    <a:cubicBezTo>
                      <a:pt x="0" y="2303"/>
                      <a:pt x="6084" y="-2745"/>
                      <a:pt x="13593" y="1541"/>
                    </a:cubicBezTo>
                    <a:lnTo>
                      <a:pt x="869090" y="496841"/>
                    </a:lnTo>
                    <a:cubicBezTo>
                      <a:pt x="877474" y="502870"/>
                      <a:pt x="882512" y="512510"/>
                      <a:pt x="882683" y="522844"/>
                    </a:cubicBezTo>
                    <a:lnTo>
                      <a:pt x="882683" y="1017668"/>
                    </a:lnTo>
                    <a:cubicBezTo>
                      <a:pt x="882683" y="1027479"/>
                      <a:pt x="876599" y="1032051"/>
                      <a:pt x="869090" y="102776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55;p15"/>
              <p:cNvSpPr/>
              <p:nvPr/>
            </p:nvSpPr>
            <p:spPr>
              <a:xfrm>
                <a:off x="6897600" y="3388613"/>
                <a:ext cx="1250451" cy="1106424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06424" extrusionOk="0">
                    <a:moveTo>
                      <a:pt x="0" y="0"/>
                    </a:moveTo>
                    <a:lnTo>
                      <a:pt x="0" y="383096"/>
                    </a:lnTo>
                    <a:lnTo>
                      <a:pt x="1250452" y="1106424"/>
                    </a:lnTo>
                    <a:lnTo>
                      <a:pt x="1250452" y="214027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15"/>
              <p:cNvSpPr/>
              <p:nvPr/>
            </p:nvSpPr>
            <p:spPr>
              <a:xfrm>
                <a:off x="7389036" y="3376326"/>
                <a:ext cx="9505" cy="678751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678751" extrusionOk="0">
                    <a:moveTo>
                      <a:pt x="0" y="0"/>
                    </a:moveTo>
                    <a:lnTo>
                      <a:pt x="0" y="678752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57;p15"/>
              <p:cNvSpPr/>
              <p:nvPr/>
            </p:nvSpPr>
            <p:spPr>
              <a:xfrm>
                <a:off x="7771633" y="3805618"/>
                <a:ext cx="9505" cy="470725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470725" extrusionOk="0">
                    <a:moveTo>
                      <a:pt x="0" y="0"/>
                    </a:moveTo>
                    <a:lnTo>
                      <a:pt x="0" y="470725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15"/>
              <p:cNvSpPr/>
              <p:nvPr/>
            </p:nvSpPr>
            <p:spPr>
              <a:xfrm>
                <a:off x="6897600" y="3332663"/>
                <a:ext cx="1250451" cy="479359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479359" extrusionOk="0">
                    <a:moveTo>
                      <a:pt x="0" y="70905"/>
                    </a:moveTo>
                    <a:cubicBezTo>
                      <a:pt x="221859" y="208732"/>
                      <a:pt x="253227" y="-102831"/>
                      <a:pt x="494953" y="36996"/>
                    </a:cubicBezTo>
                    <a:cubicBezTo>
                      <a:pt x="736678" y="176823"/>
                      <a:pt x="703314" y="359036"/>
                      <a:pt x="881732" y="462288"/>
                    </a:cubicBezTo>
                    <a:cubicBezTo>
                      <a:pt x="1060151" y="565538"/>
                      <a:pt x="1064333" y="162250"/>
                      <a:pt x="1250452" y="269978"/>
                    </a:cubicBezTo>
                  </a:path>
                </a:pathLst>
              </a:custGeom>
              <a:noFill/>
              <a:ln w="14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15"/>
              <p:cNvSpPr/>
              <p:nvPr/>
            </p:nvSpPr>
            <p:spPr>
              <a:xfrm rot="-1801764">
                <a:off x="7364922" y="3334621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60;p15"/>
              <p:cNvSpPr/>
              <p:nvPr/>
            </p:nvSpPr>
            <p:spPr>
              <a:xfrm rot="-1790023">
                <a:off x="8141346" y="3571007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4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4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61;p15"/>
              <p:cNvSpPr/>
              <p:nvPr/>
            </p:nvSpPr>
            <p:spPr>
              <a:xfrm rot="-1790023">
                <a:off x="7763340" y="3766404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3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3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62;p15"/>
              <p:cNvSpPr/>
              <p:nvPr/>
            </p:nvSpPr>
            <p:spPr>
              <a:xfrm rot="-1801764">
                <a:off x="6873548" y="3361832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p15"/>
              <p:cNvSpPr/>
              <p:nvPr/>
            </p:nvSpPr>
            <p:spPr>
              <a:xfrm>
                <a:off x="6868038" y="2430219"/>
                <a:ext cx="78705" cy="316778"/>
              </a:xfrm>
              <a:custGeom>
                <a:avLst/>
                <a:gdLst/>
                <a:ahLst/>
                <a:cxnLst/>
                <a:rect l="l" t="t" r="r" b="b"/>
                <a:pathLst>
                  <a:path w="78705" h="316778" extrusionOk="0">
                    <a:moveTo>
                      <a:pt x="64828" y="315171"/>
                    </a:moveTo>
                    <a:lnTo>
                      <a:pt x="13593" y="285548"/>
                    </a:lnTo>
                    <a:cubicBezTo>
                      <a:pt x="5209" y="279519"/>
                      <a:pt x="171" y="269880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193" y="37136"/>
                      <a:pt x="78335" y="46566"/>
                      <a:pt x="78706" y="56758"/>
                    </a:cubicBezTo>
                    <a:lnTo>
                      <a:pt x="78706" y="304884"/>
                    </a:lnTo>
                    <a:cubicBezTo>
                      <a:pt x="78706" y="314885"/>
                      <a:pt x="72337" y="319457"/>
                      <a:pt x="64828" y="3151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64;p15"/>
              <p:cNvSpPr/>
              <p:nvPr/>
            </p:nvSpPr>
            <p:spPr>
              <a:xfrm>
                <a:off x="6986477" y="2241366"/>
                <a:ext cx="78420" cy="57392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73928" extrusionOk="0">
                    <a:moveTo>
                      <a:pt x="64828" y="572319"/>
                    </a:moveTo>
                    <a:lnTo>
                      <a:pt x="13593" y="542601"/>
                    </a:lnTo>
                    <a:cubicBezTo>
                      <a:pt x="5199" y="536629"/>
                      <a:pt x="152" y="527009"/>
                      <a:pt x="0" y="516693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4828" y="31299"/>
                    </a:lnTo>
                    <a:cubicBezTo>
                      <a:pt x="73211" y="37328"/>
                      <a:pt x="78249" y="46967"/>
                      <a:pt x="78421" y="57302"/>
                    </a:cubicBezTo>
                    <a:lnTo>
                      <a:pt x="78421" y="562127"/>
                    </a:lnTo>
                    <a:cubicBezTo>
                      <a:pt x="78041" y="572033"/>
                      <a:pt x="71957" y="576605"/>
                      <a:pt x="64828" y="5723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15"/>
              <p:cNvSpPr/>
              <p:nvPr/>
            </p:nvSpPr>
            <p:spPr>
              <a:xfrm>
                <a:off x="7222119" y="2426981"/>
                <a:ext cx="78420" cy="524860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24860" extrusionOk="0">
                    <a:moveTo>
                      <a:pt x="64828" y="523197"/>
                    </a:moveTo>
                    <a:lnTo>
                      <a:pt x="13593" y="493574"/>
                    </a:lnTo>
                    <a:cubicBezTo>
                      <a:pt x="5181" y="487583"/>
                      <a:pt x="124" y="477915"/>
                      <a:pt x="0" y="467571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231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513005"/>
                    </a:lnTo>
                    <a:cubicBezTo>
                      <a:pt x="78421" y="523006"/>
                      <a:pt x="72337" y="527578"/>
                      <a:pt x="64828" y="52319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15"/>
              <p:cNvSpPr/>
              <p:nvPr/>
            </p:nvSpPr>
            <p:spPr>
              <a:xfrm>
                <a:off x="7340177" y="2573447"/>
                <a:ext cx="78420" cy="446687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446687" extrusionOk="0">
                    <a:moveTo>
                      <a:pt x="64827" y="445025"/>
                    </a:moveTo>
                    <a:lnTo>
                      <a:pt x="13593" y="415402"/>
                    </a:lnTo>
                    <a:cubicBezTo>
                      <a:pt x="5209" y="409373"/>
                      <a:pt x="171" y="399734"/>
                      <a:pt x="0" y="389399"/>
                    </a:cubicBezTo>
                    <a:lnTo>
                      <a:pt x="0" y="11828"/>
                    </a:lnTo>
                    <a:cubicBezTo>
                      <a:pt x="0" y="2303"/>
                      <a:pt x="6083" y="-2745"/>
                      <a:pt x="13593" y="1541"/>
                    </a:cubicBezTo>
                    <a:lnTo>
                      <a:pt x="64827" y="31259"/>
                    </a:lnTo>
                    <a:cubicBezTo>
                      <a:pt x="73221" y="37231"/>
                      <a:pt x="78268" y="46851"/>
                      <a:pt x="78421" y="57167"/>
                    </a:cubicBezTo>
                    <a:lnTo>
                      <a:pt x="78421" y="434738"/>
                    </a:lnTo>
                    <a:cubicBezTo>
                      <a:pt x="78421" y="444835"/>
                      <a:pt x="72337" y="449406"/>
                      <a:pt x="64827" y="44502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67;p15"/>
              <p:cNvSpPr/>
              <p:nvPr/>
            </p:nvSpPr>
            <p:spPr>
              <a:xfrm>
                <a:off x="7575249" y="2900319"/>
                <a:ext cx="78325" cy="255777"/>
              </a:xfrm>
              <a:custGeom>
                <a:avLst/>
                <a:gdLst/>
                <a:ahLst/>
                <a:cxnLst/>
                <a:rect l="l" t="t" r="r" b="b"/>
                <a:pathLst>
                  <a:path w="78325" h="255777" extrusionOk="0">
                    <a:moveTo>
                      <a:pt x="64828" y="254170"/>
                    </a:moveTo>
                    <a:lnTo>
                      <a:pt x="13498" y="224547"/>
                    </a:lnTo>
                    <a:cubicBezTo>
                      <a:pt x="5143" y="218508"/>
                      <a:pt x="133" y="208869"/>
                      <a:pt x="0" y="198544"/>
                    </a:cubicBezTo>
                    <a:lnTo>
                      <a:pt x="0" y="11949"/>
                    </a:lnTo>
                    <a:cubicBezTo>
                      <a:pt x="0" y="1853"/>
                      <a:pt x="5989" y="-2719"/>
                      <a:pt x="13498" y="1662"/>
                    </a:cubicBezTo>
                    <a:lnTo>
                      <a:pt x="64828" y="31285"/>
                    </a:lnTo>
                    <a:cubicBezTo>
                      <a:pt x="73145" y="37352"/>
                      <a:pt x="78145" y="46982"/>
                      <a:pt x="78325" y="57288"/>
                    </a:cubicBezTo>
                    <a:lnTo>
                      <a:pt x="78325" y="243883"/>
                    </a:lnTo>
                    <a:cubicBezTo>
                      <a:pt x="78325" y="253884"/>
                      <a:pt x="72242" y="258456"/>
                      <a:pt x="64828" y="2541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p15"/>
              <p:cNvSpPr/>
              <p:nvPr/>
            </p:nvSpPr>
            <p:spPr>
              <a:xfrm>
                <a:off x="7693593" y="2520557"/>
                <a:ext cx="78420" cy="70383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703833" extrusionOk="0">
                    <a:moveTo>
                      <a:pt x="64447" y="702226"/>
                    </a:moveTo>
                    <a:lnTo>
                      <a:pt x="13593" y="672508"/>
                    </a:lnTo>
                    <a:cubicBezTo>
                      <a:pt x="5199" y="666536"/>
                      <a:pt x="152" y="656916"/>
                      <a:pt x="0" y="646600"/>
                    </a:cubicBezTo>
                    <a:lnTo>
                      <a:pt x="0" y="11949"/>
                    </a:lnTo>
                    <a:cubicBezTo>
                      <a:pt x="0" y="1853"/>
                      <a:pt x="6083" y="-2719"/>
                      <a:pt x="13593" y="1662"/>
                    </a:cubicBezTo>
                    <a:lnTo>
                      <a:pt x="64828" y="31285"/>
                    </a:lnTo>
                    <a:cubicBezTo>
                      <a:pt x="73221" y="37305"/>
                      <a:pt x="78268" y="46954"/>
                      <a:pt x="78421" y="57288"/>
                    </a:cubicBezTo>
                    <a:lnTo>
                      <a:pt x="78421" y="691939"/>
                    </a:lnTo>
                    <a:cubicBezTo>
                      <a:pt x="78040" y="701940"/>
                      <a:pt x="71957" y="706512"/>
                      <a:pt x="64447" y="702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69;p15"/>
              <p:cNvSpPr/>
              <p:nvPr/>
            </p:nvSpPr>
            <p:spPr>
              <a:xfrm>
                <a:off x="7981135" y="3135165"/>
                <a:ext cx="78420" cy="25581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255818" extrusionOk="0">
                    <a:moveTo>
                      <a:pt x="64828" y="254211"/>
                    </a:moveTo>
                    <a:lnTo>
                      <a:pt x="13593" y="224493"/>
                    </a:lnTo>
                    <a:cubicBezTo>
                      <a:pt x="5199" y="218521"/>
                      <a:pt x="152" y="208900"/>
                      <a:pt x="0" y="19858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240" y="37317"/>
                      <a:pt x="78297" y="46985"/>
                      <a:pt x="78421" y="57329"/>
                    </a:cubicBezTo>
                    <a:lnTo>
                      <a:pt x="78421" y="243924"/>
                    </a:lnTo>
                    <a:cubicBezTo>
                      <a:pt x="78421" y="253925"/>
                      <a:pt x="72337" y="258497"/>
                      <a:pt x="64828" y="25421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70;p15"/>
              <p:cNvSpPr/>
              <p:nvPr/>
            </p:nvSpPr>
            <p:spPr>
              <a:xfrm>
                <a:off x="8099193" y="3142308"/>
                <a:ext cx="78420" cy="31696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316963" extrusionOk="0">
                    <a:moveTo>
                      <a:pt x="64828" y="315266"/>
                    </a:moveTo>
                    <a:lnTo>
                      <a:pt x="13593" y="285548"/>
                    </a:lnTo>
                    <a:cubicBezTo>
                      <a:pt x="5181" y="279557"/>
                      <a:pt x="124" y="269889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4" y="-2678"/>
                      <a:pt x="13593" y="1608"/>
                    </a:cubicBezTo>
                    <a:lnTo>
                      <a:pt x="64828" y="31230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305360"/>
                    </a:lnTo>
                    <a:cubicBezTo>
                      <a:pt x="78421" y="315266"/>
                      <a:pt x="72337" y="319648"/>
                      <a:pt x="64828" y="315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71" name="Google Shape;471;p15"/>
            <p:cNvSpPr/>
            <p:nvPr/>
          </p:nvSpPr>
          <p:spPr>
            <a:xfrm>
              <a:off x="2810939" y="4355647"/>
              <a:ext cx="905825" cy="524291"/>
            </a:xfrm>
            <a:custGeom>
              <a:avLst/>
              <a:gdLst/>
              <a:ahLst/>
              <a:cxnLst/>
              <a:rect l="l" t="t" r="r" b="b"/>
              <a:pathLst>
                <a:path w="905825" h="524291" extrusionOk="0">
                  <a:moveTo>
                    <a:pt x="456810" y="505052"/>
                  </a:moveTo>
                  <a:lnTo>
                    <a:pt x="32483" y="259879"/>
                  </a:lnTo>
                  <a:cubicBezTo>
                    <a:pt x="-15615" y="231970"/>
                    <a:pt x="-9626" y="183679"/>
                    <a:pt x="45981" y="151294"/>
                  </a:cubicBezTo>
                  <a:lnTo>
                    <a:pt x="261376" y="26611"/>
                  </a:lnTo>
                  <a:cubicBezTo>
                    <a:pt x="316889" y="-5488"/>
                    <a:pt x="400632" y="-9298"/>
                    <a:pt x="449015" y="19277"/>
                  </a:cubicBezTo>
                  <a:lnTo>
                    <a:pt x="873342" y="264832"/>
                  </a:lnTo>
                  <a:cubicBezTo>
                    <a:pt x="921440" y="292645"/>
                    <a:pt x="915451" y="341032"/>
                    <a:pt x="859844" y="373322"/>
                  </a:cubicBezTo>
                  <a:lnTo>
                    <a:pt x="644449" y="498004"/>
                  </a:lnTo>
                  <a:cubicBezTo>
                    <a:pt x="588937" y="529627"/>
                    <a:pt x="505193" y="533627"/>
                    <a:pt x="456810" y="505052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Google Shape;472;p15"/>
            <p:cNvSpPr/>
            <p:nvPr/>
          </p:nvSpPr>
          <p:spPr>
            <a:xfrm>
              <a:off x="2999385" y="3858955"/>
              <a:ext cx="906089" cy="910207"/>
            </a:xfrm>
            <a:custGeom>
              <a:avLst/>
              <a:gdLst/>
              <a:ahLst/>
              <a:cxnLst/>
              <a:rect l="l" t="t" r="r" b="b"/>
              <a:pathLst>
                <a:path w="906089" h="910207" extrusionOk="0">
                  <a:moveTo>
                    <a:pt x="906089" y="695706"/>
                  </a:moveTo>
                  <a:lnTo>
                    <a:pt x="906089" y="102203"/>
                  </a:lnTo>
                  <a:lnTo>
                    <a:pt x="23" y="0"/>
                  </a:lnTo>
                  <a:lnTo>
                    <a:pt x="23" y="597218"/>
                  </a:lnTo>
                  <a:lnTo>
                    <a:pt x="23" y="597218"/>
                  </a:lnTo>
                  <a:cubicBezTo>
                    <a:pt x="-547" y="615506"/>
                    <a:pt x="9528" y="632936"/>
                    <a:pt x="32342" y="645891"/>
                  </a:cubicBezTo>
                  <a:lnTo>
                    <a:pt x="456668" y="891445"/>
                  </a:lnTo>
                  <a:cubicBezTo>
                    <a:pt x="504766" y="919258"/>
                    <a:pt x="588795" y="915734"/>
                    <a:pt x="644307" y="883634"/>
                  </a:cubicBezTo>
                  <a:lnTo>
                    <a:pt x="859702" y="758952"/>
                  </a:lnTo>
                  <a:cubicBezTo>
                    <a:pt x="890975" y="740855"/>
                    <a:pt x="906565" y="717518"/>
                    <a:pt x="905614" y="6957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5"/>
            <p:cNvSpPr/>
            <p:nvPr/>
          </p:nvSpPr>
          <p:spPr>
            <a:xfrm>
              <a:off x="2999385" y="3718383"/>
              <a:ext cx="905566" cy="524522"/>
            </a:xfrm>
            <a:custGeom>
              <a:avLst/>
              <a:gdLst/>
              <a:ahLst/>
              <a:cxnLst/>
              <a:rect l="l" t="t" r="r" b="b"/>
              <a:pathLst>
                <a:path w="905566" h="524522" extrusionOk="0">
                  <a:moveTo>
                    <a:pt x="905519" y="307545"/>
                  </a:moveTo>
                  <a:lnTo>
                    <a:pt x="905519" y="242775"/>
                  </a:lnTo>
                  <a:lnTo>
                    <a:pt x="835843" y="242775"/>
                  </a:lnTo>
                  <a:lnTo>
                    <a:pt x="448874" y="18842"/>
                  </a:lnTo>
                  <a:cubicBezTo>
                    <a:pt x="400776" y="-9066"/>
                    <a:pt x="316747" y="-5542"/>
                    <a:pt x="261235" y="26557"/>
                  </a:cubicBezTo>
                  <a:lnTo>
                    <a:pt x="45839" y="151716"/>
                  </a:lnTo>
                  <a:cubicBezTo>
                    <a:pt x="42009" y="153897"/>
                    <a:pt x="38296" y="156279"/>
                    <a:pt x="34718" y="158860"/>
                  </a:cubicBezTo>
                  <a:lnTo>
                    <a:pt x="23" y="141048"/>
                  </a:lnTo>
                  <a:cubicBezTo>
                    <a:pt x="23" y="141048"/>
                    <a:pt x="23" y="209533"/>
                    <a:pt x="23" y="211819"/>
                  </a:cubicBezTo>
                  <a:lnTo>
                    <a:pt x="23" y="211819"/>
                  </a:lnTo>
                  <a:cubicBezTo>
                    <a:pt x="-547" y="229916"/>
                    <a:pt x="9528" y="247347"/>
                    <a:pt x="32342" y="260301"/>
                  </a:cubicBezTo>
                  <a:lnTo>
                    <a:pt x="456668" y="505760"/>
                  </a:lnTo>
                  <a:cubicBezTo>
                    <a:pt x="504766" y="533573"/>
                    <a:pt x="588795" y="530049"/>
                    <a:pt x="644307" y="497950"/>
                  </a:cubicBezTo>
                  <a:lnTo>
                    <a:pt x="859702" y="373363"/>
                  </a:lnTo>
                  <a:cubicBezTo>
                    <a:pt x="891926" y="354313"/>
                    <a:pt x="907230" y="330500"/>
                    <a:pt x="905424" y="308021"/>
                  </a:cubicBezTo>
                  <a:close/>
                </a:path>
              </a:pathLst>
            </a:custGeom>
            <a:solidFill>
              <a:srgbClr val="EDF0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Google Shape;474;p15"/>
            <p:cNvSpPr/>
            <p:nvPr/>
          </p:nvSpPr>
          <p:spPr>
            <a:xfrm>
              <a:off x="2999243" y="3647851"/>
              <a:ext cx="905825" cy="524031"/>
            </a:xfrm>
            <a:custGeom>
              <a:avLst/>
              <a:gdLst/>
              <a:ahLst/>
              <a:cxnLst/>
              <a:rect l="l" t="t" r="r" b="b"/>
              <a:pathLst>
                <a:path w="905825" h="524031" extrusionOk="0">
                  <a:moveTo>
                    <a:pt x="456810" y="505236"/>
                  </a:moveTo>
                  <a:lnTo>
                    <a:pt x="32483" y="259777"/>
                  </a:lnTo>
                  <a:cubicBezTo>
                    <a:pt x="-15615" y="231964"/>
                    <a:pt x="-9626" y="183577"/>
                    <a:pt x="45981" y="151192"/>
                  </a:cubicBezTo>
                  <a:lnTo>
                    <a:pt x="261376" y="26605"/>
                  </a:lnTo>
                  <a:cubicBezTo>
                    <a:pt x="316889" y="-5589"/>
                    <a:pt x="400917" y="-9018"/>
                    <a:pt x="449015" y="18795"/>
                  </a:cubicBezTo>
                  <a:lnTo>
                    <a:pt x="873342" y="264254"/>
                  </a:lnTo>
                  <a:cubicBezTo>
                    <a:pt x="921440" y="292067"/>
                    <a:pt x="915451" y="340454"/>
                    <a:pt x="859844" y="372839"/>
                  </a:cubicBezTo>
                  <a:lnTo>
                    <a:pt x="644449" y="497426"/>
                  </a:lnTo>
                  <a:cubicBezTo>
                    <a:pt x="588937" y="529620"/>
                    <a:pt x="504908" y="533050"/>
                    <a:pt x="456810" y="505236"/>
                  </a:cubicBezTo>
                  <a:close/>
                </a:path>
              </a:pathLst>
            </a:custGeom>
            <a:solidFill>
              <a:srgbClr val="E2E5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Google Shape;475;p15"/>
            <p:cNvSpPr/>
            <p:nvPr/>
          </p:nvSpPr>
          <p:spPr>
            <a:xfrm>
              <a:off x="3230772" y="3780524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293" y="12575"/>
                    <a:pt x="13716" y="14395"/>
                    <a:pt x="11312" y="16424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p15"/>
            <p:cNvSpPr/>
            <p:nvPr/>
          </p:nvSpPr>
          <p:spPr>
            <a:xfrm>
              <a:off x="3230772" y="3756847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8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8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15"/>
            <p:cNvSpPr/>
            <p:nvPr/>
          </p:nvSpPr>
          <p:spPr>
            <a:xfrm>
              <a:off x="3393243" y="3872036"/>
              <a:ext cx="129623" cy="74995"/>
            </a:xfrm>
            <a:custGeom>
              <a:avLst/>
              <a:gdLst/>
              <a:ahLst/>
              <a:cxnLst/>
              <a:rect l="l" t="t" r="r" b="b"/>
              <a:pathLst>
                <a:path w="129623" h="74995" extrusionOk="0">
                  <a:moveTo>
                    <a:pt x="128018" y="45689"/>
                  </a:moveTo>
                  <a:cubicBezTo>
                    <a:pt x="124482" y="53623"/>
                    <a:pt x="118341" y="60110"/>
                    <a:pt x="110623" y="64072"/>
                  </a:cubicBezTo>
                  <a:cubicBezTo>
                    <a:pt x="81812" y="78636"/>
                    <a:pt x="47801" y="78636"/>
                    <a:pt x="18990" y="64072"/>
                  </a:cubicBezTo>
                  <a:cubicBezTo>
                    <a:pt x="11271" y="60110"/>
                    <a:pt x="5131" y="53623"/>
                    <a:pt x="1595" y="45689"/>
                  </a:cubicBezTo>
                  <a:cubicBezTo>
                    <a:pt x="-3158" y="33497"/>
                    <a:pt x="2735" y="20448"/>
                    <a:pt x="18990" y="10923"/>
                  </a:cubicBezTo>
                  <a:cubicBezTo>
                    <a:pt x="47801" y="-3641"/>
                    <a:pt x="81812" y="-3641"/>
                    <a:pt x="110623" y="10923"/>
                  </a:cubicBezTo>
                  <a:cubicBezTo>
                    <a:pt x="126972" y="19971"/>
                    <a:pt x="132771" y="33021"/>
                    <a:pt x="128018" y="456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Google Shape;478;p15"/>
            <p:cNvSpPr/>
            <p:nvPr/>
          </p:nvSpPr>
          <p:spPr>
            <a:xfrm>
              <a:off x="3395112" y="3888323"/>
              <a:ext cx="126148" cy="58707"/>
            </a:xfrm>
            <a:custGeom>
              <a:avLst/>
              <a:gdLst/>
              <a:ahLst/>
              <a:cxnLst/>
              <a:rect l="l" t="t" r="r" b="b"/>
              <a:pathLst>
                <a:path w="126148" h="58707" extrusionOk="0">
                  <a:moveTo>
                    <a:pt x="126149" y="29401"/>
                  </a:moveTo>
                  <a:cubicBezTo>
                    <a:pt x="122613" y="37336"/>
                    <a:pt x="116472" y="43822"/>
                    <a:pt x="108754" y="47784"/>
                  </a:cubicBezTo>
                  <a:cubicBezTo>
                    <a:pt x="79942" y="62348"/>
                    <a:pt x="45932" y="62348"/>
                    <a:pt x="17120" y="47784"/>
                  </a:cubicBezTo>
                  <a:cubicBezTo>
                    <a:pt x="6959" y="47051"/>
                    <a:pt x="-683" y="38202"/>
                    <a:pt x="48" y="28030"/>
                  </a:cubicBezTo>
                  <a:cubicBezTo>
                    <a:pt x="704" y="18867"/>
                    <a:pt x="7976" y="11580"/>
                    <a:pt x="17120" y="10923"/>
                  </a:cubicBezTo>
                  <a:cubicBezTo>
                    <a:pt x="45932" y="-3641"/>
                    <a:pt x="79942" y="-3641"/>
                    <a:pt x="108754" y="10923"/>
                  </a:cubicBezTo>
                  <a:cubicBezTo>
                    <a:pt x="116491" y="14904"/>
                    <a:pt x="122632" y="21429"/>
                    <a:pt x="126149" y="29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Google Shape;479;p15"/>
            <p:cNvSpPr/>
            <p:nvPr/>
          </p:nvSpPr>
          <p:spPr>
            <a:xfrm>
              <a:off x="3543979" y="3964737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321" y="12585"/>
                    <a:pt x="13745" y="14366"/>
                    <a:pt x="11312" y="16328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Google Shape;480;p15"/>
            <p:cNvSpPr/>
            <p:nvPr/>
          </p:nvSpPr>
          <p:spPr>
            <a:xfrm>
              <a:off x="3543979" y="3941061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9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9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Google Shape;481;p15"/>
            <p:cNvSpPr/>
            <p:nvPr/>
          </p:nvSpPr>
          <p:spPr>
            <a:xfrm>
              <a:off x="5673026" y="4464079"/>
              <a:ext cx="468241" cy="270891"/>
            </a:xfrm>
            <a:custGeom>
              <a:avLst/>
              <a:gdLst/>
              <a:ahLst/>
              <a:cxnLst/>
              <a:rect l="l" t="t" r="r" b="b"/>
              <a:pathLst>
                <a:path w="468241" h="270891" extrusionOk="0">
                  <a:moveTo>
                    <a:pt x="468242" y="135445"/>
                  </a:moveTo>
                  <a:cubicBezTo>
                    <a:pt x="468242" y="210250"/>
                    <a:pt x="363422" y="270891"/>
                    <a:pt x="234121" y="270891"/>
                  </a:cubicBezTo>
                  <a:cubicBezTo>
                    <a:pt x="104819" y="270891"/>
                    <a:pt x="0" y="210250"/>
                    <a:pt x="0" y="135445"/>
                  </a:cubicBezTo>
                  <a:cubicBezTo>
                    <a:pt x="0" y="60641"/>
                    <a:pt x="104819" y="0"/>
                    <a:pt x="234121" y="0"/>
                  </a:cubicBezTo>
                  <a:cubicBezTo>
                    <a:pt x="363422" y="0"/>
                    <a:pt x="468242" y="60641"/>
                    <a:pt x="468242" y="1354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Google Shape;482;p15"/>
            <p:cNvSpPr/>
            <p:nvPr/>
          </p:nvSpPr>
          <p:spPr>
            <a:xfrm>
              <a:off x="5819482" y="3280817"/>
              <a:ext cx="243195" cy="356577"/>
            </a:xfrm>
            <a:custGeom>
              <a:avLst/>
              <a:gdLst/>
              <a:ahLst/>
              <a:cxnLst/>
              <a:rect l="l" t="t" r="r" b="b"/>
              <a:pathLst>
                <a:path w="243195" h="356577" extrusionOk="0">
                  <a:moveTo>
                    <a:pt x="85669" y="11781"/>
                  </a:moveTo>
                  <a:cubicBezTo>
                    <a:pt x="95174" y="-3744"/>
                    <a:pt x="169318" y="-14031"/>
                    <a:pt x="193652" y="48738"/>
                  </a:cubicBezTo>
                  <a:cubicBezTo>
                    <a:pt x="203157" y="72551"/>
                    <a:pt x="201446" y="133416"/>
                    <a:pt x="209145" y="171611"/>
                  </a:cubicBezTo>
                  <a:cubicBezTo>
                    <a:pt x="216845" y="209806"/>
                    <a:pt x="235000" y="231523"/>
                    <a:pt x="241559" y="262479"/>
                  </a:cubicBezTo>
                  <a:cubicBezTo>
                    <a:pt x="248118" y="293436"/>
                    <a:pt x="237472" y="345442"/>
                    <a:pt x="162854" y="354681"/>
                  </a:cubicBezTo>
                  <a:cubicBezTo>
                    <a:pt x="88236" y="363921"/>
                    <a:pt x="30917" y="337632"/>
                    <a:pt x="13332" y="313819"/>
                  </a:cubicBezTo>
                  <a:cubicBezTo>
                    <a:pt x="-4253" y="290007"/>
                    <a:pt x="-4634" y="239334"/>
                    <a:pt x="13332" y="212092"/>
                  </a:cubicBezTo>
                  <a:cubicBezTo>
                    <a:pt x="31297" y="184851"/>
                    <a:pt x="45556" y="162848"/>
                    <a:pt x="45080" y="127415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15"/>
            <p:cNvSpPr/>
            <p:nvPr/>
          </p:nvSpPr>
          <p:spPr>
            <a:xfrm>
              <a:off x="5837923" y="3277536"/>
              <a:ext cx="116085" cy="143945"/>
            </a:xfrm>
            <a:custGeom>
              <a:avLst/>
              <a:gdLst/>
              <a:ahLst/>
              <a:cxnLst/>
              <a:rect l="l" t="t" r="r" b="b"/>
              <a:pathLst>
                <a:path w="116085" h="143945" extrusionOk="0">
                  <a:moveTo>
                    <a:pt x="116086" y="4300"/>
                  </a:moveTo>
                  <a:cubicBezTo>
                    <a:pt x="116086" y="4300"/>
                    <a:pt x="60383" y="-11798"/>
                    <a:pt x="26639" y="18301"/>
                  </a:cubicBezTo>
                  <a:cubicBezTo>
                    <a:pt x="3978" y="39285"/>
                    <a:pt x="-5176" y="71137"/>
                    <a:pt x="2875" y="100979"/>
                  </a:cubicBezTo>
                  <a:cubicBezTo>
                    <a:pt x="7343" y="118600"/>
                    <a:pt x="16373" y="142603"/>
                    <a:pt x="30346" y="143936"/>
                  </a:cubicBezTo>
                  <a:cubicBezTo>
                    <a:pt x="44319" y="145270"/>
                    <a:pt x="116086" y="4300"/>
                    <a:pt x="116086" y="4300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15"/>
            <p:cNvSpPr/>
            <p:nvPr/>
          </p:nvSpPr>
          <p:spPr>
            <a:xfrm>
              <a:off x="5860663" y="3433950"/>
              <a:ext cx="143677" cy="161015"/>
            </a:xfrm>
            <a:custGeom>
              <a:avLst/>
              <a:gdLst/>
              <a:ahLst/>
              <a:cxnLst/>
              <a:rect l="l" t="t" r="r" b="b"/>
              <a:pathLst>
                <a:path w="143677" h="161015" extrusionOk="0">
                  <a:moveTo>
                    <a:pt x="114638" y="0"/>
                  </a:moveTo>
                  <a:cubicBezTo>
                    <a:pt x="114638" y="0"/>
                    <a:pt x="110931" y="62103"/>
                    <a:pt x="112072" y="66675"/>
                  </a:cubicBezTo>
                  <a:cubicBezTo>
                    <a:pt x="113212" y="71247"/>
                    <a:pt x="136406" y="76200"/>
                    <a:pt x="142965" y="81153"/>
                  </a:cubicBezTo>
                  <a:cubicBezTo>
                    <a:pt x="149524" y="86106"/>
                    <a:pt x="109220" y="149638"/>
                    <a:pt x="88783" y="158972"/>
                  </a:cubicBezTo>
                  <a:cubicBezTo>
                    <a:pt x="68346" y="168307"/>
                    <a:pt x="4944" y="144399"/>
                    <a:pt x="477" y="112871"/>
                  </a:cubicBezTo>
                  <a:cubicBezTo>
                    <a:pt x="-3515" y="83725"/>
                    <a:pt x="18632" y="61151"/>
                    <a:pt x="27187" y="53245"/>
                  </a:cubicBezTo>
                  <a:cubicBezTo>
                    <a:pt x="32995" y="52692"/>
                    <a:pt x="38841" y="52531"/>
                    <a:pt x="44678" y="52769"/>
                  </a:cubicBezTo>
                  <a:lnTo>
                    <a:pt x="46579" y="22670"/>
                  </a:lnTo>
                  <a:cubicBezTo>
                    <a:pt x="74335" y="13811"/>
                    <a:pt x="114638" y="0"/>
                    <a:pt x="114638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15"/>
            <p:cNvSpPr/>
            <p:nvPr/>
          </p:nvSpPr>
          <p:spPr>
            <a:xfrm>
              <a:off x="5729287" y="3551002"/>
              <a:ext cx="121787" cy="284211"/>
            </a:xfrm>
            <a:custGeom>
              <a:avLst/>
              <a:gdLst/>
              <a:ahLst/>
              <a:cxnLst/>
              <a:rect l="l" t="t" r="r" b="b"/>
              <a:pathLst>
                <a:path w="121787" h="284211" extrusionOk="0">
                  <a:moveTo>
                    <a:pt x="96303" y="391"/>
                  </a:moveTo>
                  <a:cubicBezTo>
                    <a:pt x="96303" y="-1418"/>
                    <a:pt x="86797" y="3630"/>
                    <a:pt x="86797" y="3725"/>
                  </a:cubicBezTo>
                  <a:cubicBezTo>
                    <a:pt x="86797" y="3820"/>
                    <a:pt x="82330" y="163269"/>
                    <a:pt x="74535" y="177747"/>
                  </a:cubicBezTo>
                  <a:lnTo>
                    <a:pt x="74535" y="177747"/>
                  </a:lnTo>
                  <a:cubicBezTo>
                    <a:pt x="54669" y="211560"/>
                    <a:pt x="2103" y="268901"/>
                    <a:pt x="772" y="275283"/>
                  </a:cubicBezTo>
                  <a:cubicBezTo>
                    <a:pt x="-3125" y="294333"/>
                    <a:pt x="8092" y="277283"/>
                    <a:pt x="26152" y="275283"/>
                  </a:cubicBezTo>
                  <a:cubicBezTo>
                    <a:pt x="36323" y="274044"/>
                    <a:pt x="96113" y="213466"/>
                    <a:pt x="109516" y="199654"/>
                  </a:cubicBezTo>
                  <a:lnTo>
                    <a:pt x="110371" y="200131"/>
                  </a:lnTo>
                  <a:lnTo>
                    <a:pt x="110371" y="198607"/>
                  </a:lnTo>
                  <a:lnTo>
                    <a:pt x="112082" y="196797"/>
                  </a:lnTo>
                  <a:cubicBezTo>
                    <a:pt x="112424" y="192482"/>
                    <a:pt x="112424" y="188158"/>
                    <a:pt x="112082" y="183843"/>
                  </a:cubicBezTo>
                  <a:cubicBezTo>
                    <a:pt x="137272" y="10583"/>
                    <a:pt x="106664" y="-942"/>
                    <a:pt x="96303" y="39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15"/>
            <p:cNvSpPr/>
            <p:nvPr/>
          </p:nvSpPr>
          <p:spPr>
            <a:xfrm>
              <a:off x="5818929" y="3486611"/>
              <a:ext cx="209320" cy="241045"/>
            </a:xfrm>
            <a:custGeom>
              <a:avLst/>
              <a:gdLst/>
              <a:ahLst/>
              <a:cxnLst/>
              <a:rect l="l" t="t" r="r" b="b"/>
              <a:pathLst>
                <a:path w="209320" h="241045" extrusionOk="0">
                  <a:moveTo>
                    <a:pt x="164832" y="20110"/>
                  </a:moveTo>
                  <a:cubicBezTo>
                    <a:pt x="182322" y="22777"/>
                    <a:pt x="202189" y="32111"/>
                    <a:pt x="204945" y="41636"/>
                  </a:cubicBezTo>
                  <a:cubicBezTo>
                    <a:pt x="212141" y="76098"/>
                    <a:pt x="210439" y="111835"/>
                    <a:pt x="200002" y="145459"/>
                  </a:cubicBezTo>
                  <a:cubicBezTo>
                    <a:pt x="184889" y="185464"/>
                    <a:pt x="174718" y="210895"/>
                    <a:pt x="165973" y="228136"/>
                  </a:cubicBezTo>
                  <a:cubicBezTo>
                    <a:pt x="165973" y="228136"/>
                    <a:pt x="90594" y="260521"/>
                    <a:pt x="29758" y="222706"/>
                  </a:cubicBezTo>
                  <a:cubicBezTo>
                    <a:pt x="29758" y="222706"/>
                    <a:pt x="25576" y="179844"/>
                    <a:pt x="25291" y="156889"/>
                  </a:cubicBezTo>
                  <a:cubicBezTo>
                    <a:pt x="-30792" y="107835"/>
                    <a:pt x="17211" y="47351"/>
                    <a:pt x="64739" y="393"/>
                  </a:cubicBezTo>
                  <a:cubicBezTo>
                    <a:pt x="70433" y="-131"/>
                    <a:pt x="76155" y="-131"/>
                    <a:pt x="81849" y="393"/>
                  </a:cubicBezTo>
                  <a:cubicBezTo>
                    <a:pt x="81849" y="393"/>
                    <a:pt x="39454" y="50685"/>
                    <a:pt x="68921" y="79260"/>
                  </a:cubicBezTo>
                  <a:cubicBezTo>
                    <a:pt x="132133" y="59638"/>
                    <a:pt x="144680" y="31063"/>
                    <a:pt x="164832" y="2011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15"/>
            <p:cNvSpPr/>
            <p:nvPr/>
          </p:nvSpPr>
          <p:spPr>
            <a:xfrm>
              <a:off x="5856166" y="3289038"/>
              <a:ext cx="154042" cy="190250"/>
            </a:xfrm>
            <a:custGeom>
              <a:avLst/>
              <a:gdLst/>
              <a:ahLst/>
              <a:cxnLst/>
              <a:rect l="l" t="t" r="r" b="b"/>
              <a:pathLst>
                <a:path w="154042" h="190250" extrusionOk="0">
                  <a:moveTo>
                    <a:pt x="3263" y="67854"/>
                  </a:moveTo>
                  <a:lnTo>
                    <a:pt x="3263" y="67854"/>
                  </a:lnTo>
                  <a:cubicBezTo>
                    <a:pt x="9442" y="27945"/>
                    <a:pt x="38244" y="-2250"/>
                    <a:pt x="79308" y="132"/>
                  </a:cubicBezTo>
                  <a:cubicBezTo>
                    <a:pt x="122872" y="2484"/>
                    <a:pt x="156274" y="39784"/>
                    <a:pt x="153926" y="83437"/>
                  </a:cubicBezTo>
                  <a:cubicBezTo>
                    <a:pt x="152586" y="108288"/>
                    <a:pt x="139668" y="131053"/>
                    <a:pt x="119041" y="144912"/>
                  </a:cubicBezTo>
                  <a:cubicBezTo>
                    <a:pt x="117624" y="150960"/>
                    <a:pt x="115486" y="156808"/>
                    <a:pt x="112672" y="162342"/>
                  </a:cubicBezTo>
                  <a:cubicBezTo>
                    <a:pt x="98129" y="179297"/>
                    <a:pt x="59441" y="190060"/>
                    <a:pt x="46704" y="190251"/>
                  </a:cubicBezTo>
                  <a:cubicBezTo>
                    <a:pt x="35677" y="190251"/>
                    <a:pt x="26172" y="180059"/>
                    <a:pt x="15811" y="162914"/>
                  </a:cubicBezTo>
                  <a:cubicBezTo>
                    <a:pt x="-5672" y="127195"/>
                    <a:pt x="-158" y="87571"/>
                    <a:pt x="3263" y="67854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15"/>
            <p:cNvSpPr/>
            <p:nvPr/>
          </p:nvSpPr>
          <p:spPr>
            <a:xfrm>
              <a:off x="5862376" y="3287995"/>
              <a:ext cx="154704" cy="145954"/>
            </a:xfrm>
            <a:custGeom>
              <a:avLst/>
              <a:gdLst/>
              <a:ahLst/>
              <a:cxnLst/>
              <a:rect l="l" t="t" r="r" b="b"/>
              <a:pathLst>
                <a:path w="154704" h="145954" extrusionOk="0">
                  <a:moveTo>
                    <a:pt x="85930" y="1937"/>
                  </a:moveTo>
                  <a:cubicBezTo>
                    <a:pt x="114447" y="7557"/>
                    <a:pt x="138400" y="15748"/>
                    <a:pt x="146290" y="44038"/>
                  </a:cubicBezTo>
                  <a:cubicBezTo>
                    <a:pt x="151613" y="63659"/>
                    <a:pt x="158647" y="101188"/>
                    <a:pt x="151993" y="116523"/>
                  </a:cubicBezTo>
                  <a:lnTo>
                    <a:pt x="147811" y="127857"/>
                  </a:lnTo>
                  <a:lnTo>
                    <a:pt x="112926" y="145955"/>
                  </a:lnTo>
                  <a:cubicBezTo>
                    <a:pt x="112926" y="145955"/>
                    <a:pt x="96576" y="132334"/>
                    <a:pt x="101709" y="92424"/>
                  </a:cubicBezTo>
                  <a:cubicBezTo>
                    <a:pt x="101510" y="87043"/>
                    <a:pt x="99798" y="81823"/>
                    <a:pt x="96766" y="77375"/>
                  </a:cubicBezTo>
                  <a:cubicBezTo>
                    <a:pt x="94580" y="73594"/>
                    <a:pt x="92954" y="69517"/>
                    <a:pt x="91919" y="65278"/>
                  </a:cubicBezTo>
                  <a:cubicBezTo>
                    <a:pt x="87774" y="54496"/>
                    <a:pt x="79685" y="45704"/>
                    <a:pt x="69295" y="40704"/>
                  </a:cubicBezTo>
                  <a:cubicBezTo>
                    <a:pt x="43345" y="26130"/>
                    <a:pt x="5323" y="38704"/>
                    <a:pt x="0" y="44038"/>
                  </a:cubicBezTo>
                  <a:cubicBezTo>
                    <a:pt x="15142" y="11452"/>
                    <a:pt x="50959" y="-6102"/>
                    <a:pt x="85930" y="193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15"/>
            <p:cNvSpPr/>
            <p:nvPr/>
          </p:nvSpPr>
          <p:spPr>
            <a:xfrm>
              <a:off x="5888298" y="4552945"/>
              <a:ext cx="121626" cy="93085"/>
            </a:xfrm>
            <a:custGeom>
              <a:avLst/>
              <a:gdLst/>
              <a:ahLst/>
              <a:cxnLst/>
              <a:rect l="l" t="t" r="r" b="b"/>
              <a:pathLst>
                <a:path w="121626" h="93085" extrusionOk="0">
                  <a:moveTo>
                    <a:pt x="112478" y="2"/>
                  </a:moveTo>
                  <a:cubicBezTo>
                    <a:pt x="97840" y="11908"/>
                    <a:pt x="75121" y="3717"/>
                    <a:pt x="74456" y="4765"/>
                  </a:cubicBezTo>
                  <a:cubicBezTo>
                    <a:pt x="57422" y="19395"/>
                    <a:pt x="39590" y="33073"/>
                    <a:pt x="21035" y="45722"/>
                  </a:cubicBezTo>
                  <a:cubicBezTo>
                    <a:pt x="11529" y="52866"/>
                    <a:pt x="-2254" y="62486"/>
                    <a:pt x="313" y="76202"/>
                  </a:cubicBezTo>
                  <a:cubicBezTo>
                    <a:pt x="4875" y="100872"/>
                    <a:pt x="44228" y="93347"/>
                    <a:pt x="59057" y="85727"/>
                  </a:cubicBezTo>
                  <a:cubicBezTo>
                    <a:pt x="73886" y="78107"/>
                    <a:pt x="86053" y="65725"/>
                    <a:pt x="100121" y="57152"/>
                  </a:cubicBezTo>
                  <a:cubicBezTo>
                    <a:pt x="110102" y="50961"/>
                    <a:pt x="119987" y="47627"/>
                    <a:pt x="121604" y="35054"/>
                  </a:cubicBezTo>
                  <a:cubicBezTo>
                    <a:pt x="122079" y="27149"/>
                    <a:pt x="115045" y="-284"/>
                    <a:pt x="11247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15"/>
            <p:cNvSpPr/>
            <p:nvPr/>
          </p:nvSpPr>
          <p:spPr>
            <a:xfrm>
              <a:off x="5888421" y="4582665"/>
              <a:ext cx="121131" cy="63346"/>
            </a:xfrm>
            <a:custGeom>
              <a:avLst/>
              <a:gdLst/>
              <a:ahLst/>
              <a:cxnLst/>
              <a:rect l="l" t="t" r="r" b="b"/>
              <a:pathLst>
                <a:path w="121131" h="63346" extrusionOk="0">
                  <a:moveTo>
                    <a:pt x="120910" y="0"/>
                  </a:moveTo>
                  <a:cubicBezTo>
                    <a:pt x="118914" y="12192"/>
                    <a:pt x="109219" y="15526"/>
                    <a:pt x="99238" y="21717"/>
                  </a:cubicBezTo>
                  <a:cubicBezTo>
                    <a:pt x="84979" y="30575"/>
                    <a:pt x="72432" y="43434"/>
                    <a:pt x="57604" y="50959"/>
                  </a:cubicBezTo>
                  <a:cubicBezTo>
                    <a:pt x="42775" y="58484"/>
                    <a:pt x="9601" y="64770"/>
                    <a:pt x="0" y="47244"/>
                  </a:cubicBezTo>
                  <a:cubicBezTo>
                    <a:pt x="5228" y="70961"/>
                    <a:pt x="43916" y="63532"/>
                    <a:pt x="58554" y="56007"/>
                  </a:cubicBezTo>
                  <a:cubicBezTo>
                    <a:pt x="73193" y="48482"/>
                    <a:pt x="85550" y="36004"/>
                    <a:pt x="99618" y="27432"/>
                  </a:cubicBezTo>
                  <a:cubicBezTo>
                    <a:pt x="109599" y="21241"/>
                    <a:pt x="119484" y="17907"/>
                    <a:pt x="121101" y="5334"/>
                  </a:cubicBezTo>
                  <a:cubicBezTo>
                    <a:pt x="121177" y="3553"/>
                    <a:pt x="121110" y="1772"/>
                    <a:pt x="12091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15"/>
            <p:cNvSpPr/>
            <p:nvPr/>
          </p:nvSpPr>
          <p:spPr>
            <a:xfrm>
              <a:off x="5795742" y="4532466"/>
              <a:ext cx="111395" cy="86487"/>
            </a:xfrm>
            <a:custGeom>
              <a:avLst/>
              <a:gdLst/>
              <a:ahLst/>
              <a:cxnLst/>
              <a:rect l="l" t="t" r="r" b="b"/>
              <a:pathLst>
                <a:path w="111395" h="86487" extrusionOk="0">
                  <a:moveTo>
                    <a:pt x="102659" y="2"/>
                  </a:moveTo>
                  <a:cubicBezTo>
                    <a:pt x="89257" y="10956"/>
                    <a:pt x="69105" y="4765"/>
                    <a:pt x="68154" y="5812"/>
                  </a:cubicBezTo>
                  <a:cubicBezTo>
                    <a:pt x="52537" y="19109"/>
                    <a:pt x="36225" y="31578"/>
                    <a:pt x="19296" y="43151"/>
                  </a:cubicBezTo>
                  <a:cubicBezTo>
                    <a:pt x="10931" y="49723"/>
                    <a:pt x="-2091" y="58486"/>
                    <a:pt x="285" y="71059"/>
                  </a:cubicBezTo>
                  <a:cubicBezTo>
                    <a:pt x="4467" y="93633"/>
                    <a:pt x="40493" y="86680"/>
                    <a:pt x="54181" y="79822"/>
                  </a:cubicBezTo>
                  <a:cubicBezTo>
                    <a:pt x="67869" y="72964"/>
                    <a:pt x="78800" y="61438"/>
                    <a:pt x="91728" y="53437"/>
                  </a:cubicBezTo>
                  <a:cubicBezTo>
                    <a:pt x="101234" y="47722"/>
                    <a:pt x="109884" y="44770"/>
                    <a:pt x="111309" y="33149"/>
                  </a:cubicBezTo>
                  <a:cubicBezTo>
                    <a:pt x="112260" y="26101"/>
                    <a:pt x="105036" y="-283"/>
                    <a:pt x="102659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15"/>
            <p:cNvSpPr/>
            <p:nvPr/>
          </p:nvSpPr>
          <p:spPr>
            <a:xfrm>
              <a:off x="5796313" y="4560948"/>
              <a:ext cx="110894" cy="58013"/>
            </a:xfrm>
            <a:custGeom>
              <a:avLst/>
              <a:gdLst/>
              <a:ahLst/>
              <a:cxnLst/>
              <a:rect l="l" t="t" r="r" b="b"/>
              <a:pathLst>
                <a:path w="110894" h="58013" extrusionOk="0">
                  <a:moveTo>
                    <a:pt x="110644" y="0"/>
                  </a:moveTo>
                  <a:cubicBezTo>
                    <a:pt x="108838" y="11144"/>
                    <a:pt x="99903" y="14192"/>
                    <a:pt x="90778" y="19812"/>
                  </a:cubicBezTo>
                  <a:cubicBezTo>
                    <a:pt x="77755" y="28004"/>
                    <a:pt x="66254" y="39719"/>
                    <a:pt x="52756" y="46672"/>
                  </a:cubicBezTo>
                  <a:cubicBezTo>
                    <a:pt x="39258" y="53626"/>
                    <a:pt x="8840" y="59341"/>
                    <a:pt x="0" y="43244"/>
                  </a:cubicBezTo>
                  <a:cubicBezTo>
                    <a:pt x="4753" y="64961"/>
                    <a:pt x="40208" y="58198"/>
                    <a:pt x="53706" y="51340"/>
                  </a:cubicBezTo>
                  <a:cubicBezTo>
                    <a:pt x="67204" y="44482"/>
                    <a:pt x="78325" y="32956"/>
                    <a:pt x="91253" y="24955"/>
                  </a:cubicBezTo>
                  <a:cubicBezTo>
                    <a:pt x="100758" y="19240"/>
                    <a:pt x="109408" y="16288"/>
                    <a:pt x="110834" y="4667"/>
                  </a:cubicBezTo>
                  <a:cubicBezTo>
                    <a:pt x="110958" y="3105"/>
                    <a:pt x="110891" y="1543"/>
                    <a:pt x="11064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15"/>
            <p:cNvSpPr/>
            <p:nvPr/>
          </p:nvSpPr>
          <p:spPr>
            <a:xfrm>
              <a:off x="5813683" y="3728558"/>
              <a:ext cx="237954" cy="833275"/>
            </a:xfrm>
            <a:custGeom>
              <a:avLst/>
              <a:gdLst/>
              <a:ahLst/>
              <a:cxnLst/>
              <a:rect l="l" t="t" r="r" b="b"/>
              <a:pathLst>
                <a:path w="237954" h="833275" extrusionOk="0">
                  <a:moveTo>
                    <a:pt x="6013" y="123825"/>
                  </a:moveTo>
                  <a:cubicBezTo>
                    <a:pt x="12477" y="73342"/>
                    <a:pt x="31013" y="0"/>
                    <a:pt x="31013" y="0"/>
                  </a:cubicBezTo>
                  <a:cubicBezTo>
                    <a:pt x="48541" y="8201"/>
                    <a:pt x="67495" y="12897"/>
                    <a:pt x="86810" y="13811"/>
                  </a:cubicBezTo>
                  <a:cubicBezTo>
                    <a:pt x="115136" y="13716"/>
                    <a:pt x="143396" y="10973"/>
                    <a:pt x="171219" y="5620"/>
                  </a:cubicBezTo>
                  <a:cubicBezTo>
                    <a:pt x="180287" y="21517"/>
                    <a:pt x="190220" y="36909"/>
                    <a:pt x="200971" y="51721"/>
                  </a:cubicBezTo>
                  <a:cubicBezTo>
                    <a:pt x="215515" y="71914"/>
                    <a:pt x="243746" y="116109"/>
                    <a:pt x="236902" y="193357"/>
                  </a:cubicBezTo>
                  <a:cubicBezTo>
                    <a:pt x="232435" y="243840"/>
                    <a:pt x="204203" y="458248"/>
                    <a:pt x="204203" y="458248"/>
                  </a:cubicBezTo>
                  <a:cubicBezTo>
                    <a:pt x="215201" y="494290"/>
                    <a:pt x="221056" y="531714"/>
                    <a:pt x="221598" y="569405"/>
                  </a:cubicBezTo>
                  <a:cubicBezTo>
                    <a:pt x="218937" y="614229"/>
                    <a:pt x="213024" y="658796"/>
                    <a:pt x="203918" y="702755"/>
                  </a:cubicBezTo>
                  <a:lnTo>
                    <a:pt x="187093" y="824389"/>
                  </a:lnTo>
                  <a:cubicBezTo>
                    <a:pt x="187093" y="824389"/>
                    <a:pt x="164660" y="840676"/>
                    <a:pt x="149071" y="829151"/>
                  </a:cubicBezTo>
                  <a:lnTo>
                    <a:pt x="151067" y="710089"/>
                  </a:lnTo>
                  <a:cubicBezTo>
                    <a:pt x="149166" y="680942"/>
                    <a:pt x="146219" y="637984"/>
                    <a:pt x="144413" y="610552"/>
                  </a:cubicBezTo>
                  <a:cubicBezTo>
                    <a:pt x="141371" y="565785"/>
                    <a:pt x="133387" y="494824"/>
                    <a:pt x="131106" y="477202"/>
                  </a:cubicBezTo>
                  <a:cubicBezTo>
                    <a:pt x="128824" y="459581"/>
                    <a:pt x="123121" y="428434"/>
                    <a:pt x="120364" y="393763"/>
                  </a:cubicBezTo>
                  <a:cubicBezTo>
                    <a:pt x="117608" y="359092"/>
                    <a:pt x="104680" y="182594"/>
                    <a:pt x="104680" y="182594"/>
                  </a:cubicBezTo>
                  <a:lnTo>
                    <a:pt x="102874" y="215646"/>
                  </a:lnTo>
                  <a:cubicBezTo>
                    <a:pt x="102874" y="215646"/>
                    <a:pt x="101068" y="269272"/>
                    <a:pt x="93369" y="335470"/>
                  </a:cubicBezTo>
                  <a:cubicBezTo>
                    <a:pt x="85669" y="401669"/>
                    <a:pt x="83008" y="430720"/>
                    <a:pt x="83008" y="430720"/>
                  </a:cubicBezTo>
                  <a:cubicBezTo>
                    <a:pt x="90308" y="444074"/>
                    <a:pt x="95412" y="458514"/>
                    <a:pt x="98121" y="473488"/>
                  </a:cubicBezTo>
                  <a:cubicBezTo>
                    <a:pt x="99452" y="487775"/>
                    <a:pt x="115707" y="600932"/>
                    <a:pt x="106011" y="658463"/>
                  </a:cubicBezTo>
                  <a:lnTo>
                    <a:pt x="85954" y="804863"/>
                  </a:lnTo>
                  <a:cubicBezTo>
                    <a:pt x="75869" y="811882"/>
                    <a:pt x="63018" y="813587"/>
                    <a:pt x="51449" y="809434"/>
                  </a:cubicBezTo>
                  <a:lnTo>
                    <a:pt x="39663" y="661892"/>
                  </a:lnTo>
                  <a:cubicBezTo>
                    <a:pt x="31773" y="605790"/>
                    <a:pt x="15043" y="486823"/>
                    <a:pt x="12477" y="471392"/>
                  </a:cubicBezTo>
                  <a:cubicBezTo>
                    <a:pt x="6773" y="440226"/>
                    <a:pt x="3408" y="408670"/>
                    <a:pt x="2401" y="376999"/>
                  </a:cubicBezTo>
                  <a:cubicBezTo>
                    <a:pt x="-1782" y="312991"/>
                    <a:pt x="-451" y="174212"/>
                    <a:pt x="6013" y="12382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15"/>
            <p:cNvSpPr/>
            <p:nvPr/>
          </p:nvSpPr>
          <p:spPr>
            <a:xfrm>
              <a:off x="5803516" y="3708175"/>
              <a:ext cx="253612" cy="553963"/>
            </a:xfrm>
            <a:custGeom>
              <a:avLst/>
              <a:gdLst/>
              <a:ahLst/>
              <a:cxnLst/>
              <a:rect l="l" t="t" r="r" b="b"/>
              <a:pathLst>
                <a:path w="253612" h="553963" extrusionOk="0">
                  <a:moveTo>
                    <a:pt x="181386" y="6572"/>
                  </a:moveTo>
                  <a:lnTo>
                    <a:pt x="224731" y="93726"/>
                  </a:lnTo>
                  <a:cubicBezTo>
                    <a:pt x="224731" y="93726"/>
                    <a:pt x="291270" y="190690"/>
                    <a:pt x="222355" y="439960"/>
                  </a:cubicBezTo>
                  <a:lnTo>
                    <a:pt x="235187" y="516922"/>
                  </a:lnTo>
                  <a:cubicBezTo>
                    <a:pt x="235187" y="516922"/>
                    <a:pt x="105532" y="600265"/>
                    <a:pt x="18746" y="516922"/>
                  </a:cubicBezTo>
                  <a:cubicBezTo>
                    <a:pt x="18746" y="516922"/>
                    <a:pt x="-11291" y="286512"/>
                    <a:pt x="4678" y="180308"/>
                  </a:cubicBezTo>
                  <a:cubicBezTo>
                    <a:pt x="13613" y="119272"/>
                    <a:pt x="27121" y="59007"/>
                    <a:pt x="45077" y="0"/>
                  </a:cubicBezTo>
                  <a:cubicBezTo>
                    <a:pt x="45077" y="0"/>
                    <a:pt x="66369" y="23527"/>
                    <a:pt x="175683" y="8001"/>
                  </a:cubicBezTo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p15"/>
            <p:cNvSpPr/>
            <p:nvPr/>
          </p:nvSpPr>
          <p:spPr>
            <a:xfrm>
              <a:off x="5812662" y="3486508"/>
              <a:ext cx="71005" cy="74600"/>
            </a:xfrm>
            <a:custGeom>
              <a:avLst/>
              <a:gdLst/>
              <a:ahLst/>
              <a:cxnLst/>
              <a:rect l="l" t="t" r="r" b="b"/>
              <a:pathLst>
                <a:path w="71005" h="74600" extrusionOk="0">
                  <a:moveTo>
                    <a:pt x="71006" y="496"/>
                  </a:moveTo>
                  <a:cubicBezTo>
                    <a:pt x="71006" y="496"/>
                    <a:pt x="36596" y="-10077"/>
                    <a:pt x="0" y="66409"/>
                  </a:cubicBezTo>
                  <a:lnTo>
                    <a:pt x="13688" y="74600"/>
                  </a:lnTo>
                  <a:cubicBezTo>
                    <a:pt x="13688" y="74600"/>
                    <a:pt x="49714" y="20117"/>
                    <a:pt x="71006" y="49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15"/>
            <p:cNvSpPr/>
            <p:nvPr/>
          </p:nvSpPr>
          <p:spPr>
            <a:xfrm>
              <a:off x="5614947" y="3815235"/>
              <a:ext cx="254367" cy="147732"/>
            </a:xfrm>
            <a:custGeom>
              <a:avLst/>
              <a:gdLst/>
              <a:ahLst/>
              <a:cxnLst/>
              <a:rect l="l" t="t" r="r" b="b"/>
              <a:pathLst>
                <a:path w="254367" h="147732" extrusionOk="0">
                  <a:moveTo>
                    <a:pt x="0" y="86201"/>
                  </a:moveTo>
                  <a:lnTo>
                    <a:pt x="148096" y="0"/>
                  </a:lnTo>
                  <a:lnTo>
                    <a:pt x="254368" y="61436"/>
                  </a:lnTo>
                  <a:lnTo>
                    <a:pt x="106272" y="147733"/>
                  </a:lnTo>
                  <a:lnTo>
                    <a:pt x="0" y="8620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15"/>
            <p:cNvSpPr/>
            <p:nvPr/>
          </p:nvSpPr>
          <p:spPr>
            <a:xfrm>
              <a:off x="5694413" y="3821487"/>
              <a:ext cx="53706" cy="44771"/>
            </a:xfrm>
            <a:custGeom>
              <a:avLst/>
              <a:gdLst/>
              <a:ahLst/>
              <a:cxnLst/>
              <a:rect l="l" t="t" r="r" b="b"/>
              <a:pathLst>
                <a:path w="53706" h="44771" extrusionOk="0">
                  <a:moveTo>
                    <a:pt x="49524" y="35"/>
                  </a:moveTo>
                  <a:cubicBezTo>
                    <a:pt x="40237" y="968"/>
                    <a:pt x="31254" y="3892"/>
                    <a:pt x="23194" y="8607"/>
                  </a:cubicBezTo>
                  <a:cubicBezTo>
                    <a:pt x="20228" y="11198"/>
                    <a:pt x="17053" y="13522"/>
                    <a:pt x="13688" y="15561"/>
                  </a:cubicBezTo>
                  <a:cubicBezTo>
                    <a:pt x="12262" y="16227"/>
                    <a:pt x="10836" y="17180"/>
                    <a:pt x="9315" y="17846"/>
                  </a:cubicBezTo>
                  <a:cubicBezTo>
                    <a:pt x="7053" y="18675"/>
                    <a:pt x="5000" y="20009"/>
                    <a:pt x="3327" y="21752"/>
                  </a:cubicBezTo>
                  <a:cubicBezTo>
                    <a:pt x="1673" y="24200"/>
                    <a:pt x="780" y="27086"/>
                    <a:pt x="760" y="30038"/>
                  </a:cubicBezTo>
                  <a:cubicBezTo>
                    <a:pt x="0" y="33572"/>
                    <a:pt x="-190" y="37211"/>
                    <a:pt x="190" y="40802"/>
                  </a:cubicBezTo>
                  <a:cubicBezTo>
                    <a:pt x="1521" y="46136"/>
                    <a:pt x="7034" y="45660"/>
                    <a:pt x="9696" y="41945"/>
                  </a:cubicBezTo>
                  <a:cubicBezTo>
                    <a:pt x="11141" y="40088"/>
                    <a:pt x="11968" y="37821"/>
                    <a:pt x="12072" y="35468"/>
                  </a:cubicBezTo>
                  <a:cubicBezTo>
                    <a:pt x="12234" y="30905"/>
                    <a:pt x="14562" y="26686"/>
                    <a:pt x="18346" y="24133"/>
                  </a:cubicBezTo>
                  <a:lnTo>
                    <a:pt x="53706" y="2130"/>
                  </a:lnTo>
                  <a:cubicBezTo>
                    <a:pt x="52870" y="644"/>
                    <a:pt x="51216" y="-184"/>
                    <a:pt x="49524" y="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15"/>
            <p:cNvSpPr/>
            <p:nvPr/>
          </p:nvSpPr>
          <p:spPr>
            <a:xfrm>
              <a:off x="5775008" y="3530248"/>
              <a:ext cx="253611" cy="322722"/>
            </a:xfrm>
            <a:custGeom>
              <a:avLst/>
              <a:gdLst/>
              <a:ahLst/>
              <a:cxnLst/>
              <a:rect l="l" t="t" r="r" b="b"/>
              <a:pathLst>
                <a:path w="253611" h="322722" extrusionOk="0">
                  <a:moveTo>
                    <a:pt x="250673" y="25527"/>
                  </a:moveTo>
                  <a:cubicBezTo>
                    <a:pt x="245826" y="5334"/>
                    <a:pt x="230046" y="11811"/>
                    <a:pt x="216453" y="0"/>
                  </a:cubicBezTo>
                  <a:cubicBezTo>
                    <a:pt x="184990" y="44672"/>
                    <a:pt x="205902" y="165449"/>
                    <a:pt x="210180" y="178308"/>
                  </a:cubicBezTo>
                  <a:lnTo>
                    <a:pt x="89270" y="255556"/>
                  </a:lnTo>
                  <a:lnTo>
                    <a:pt x="89270" y="255556"/>
                  </a:lnTo>
                  <a:lnTo>
                    <a:pt x="81095" y="260604"/>
                  </a:lnTo>
                  <a:cubicBezTo>
                    <a:pt x="67331" y="269662"/>
                    <a:pt x="52131" y="276301"/>
                    <a:pt x="36134" y="280225"/>
                  </a:cubicBezTo>
                  <a:cubicBezTo>
                    <a:pt x="24062" y="281654"/>
                    <a:pt x="17788" y="298704"/>
                    <a:pt x="4860" y="300228"/>
                  </a:cubicBezTo>
                  <a:cubicBezTo>
                    <a:pt x="2075" y="300333"/>
                    <a:pt x="-92" y="302666"/>
                    <a:pt x="3" y="305457"/>
                  </a:cubicBezTo>
                  <a:cubicBezTo>
                    <a:pt x="51" y="306753"/>
                    <a:pt x="602" y="307991"/>
                    <a:pt x="1533" y="308896"/>
                  </a:cubicBezTo>
                  <a:cubicBezTo>
                    <a:pt x="6667" y="313849"/>
                    <a:pt x="20545" y="309753"/>
                    <a:pt x="30050" y="298704"/>
                  </a:cubicBezTo>
                  <a:cubicBezTo>
                    <a:pt x="30002" y="298952"/>
                    <a:pt x="30002" y="299218"/>
                    <a:pt x="30050" y="299466"/>
                  </a:cubicBezTo>
                  <a:cubicBezTo>
                    <a:pt x="30202" y="303057"/>
                    <a:pt x="32227" y="306314"/>
                    <a:pt x="35373" y="308038"/>
                  </a:cubicBezTo>
                  <a:cubicBezTo>
                    <a:pt x="36067" y="308458"/>
                    <a:pt x="36846" y="308724"/>
                    <a:pt x="37655" y="308800"/>
                  </a:cubicBezTo>
                  <a:cubicBezTo>
                    <a:pt x="37655" y="309610"/>
                    <a:pt x="37883" y="310401"/>
                    <a:pt x="38320" y="311087"/>
                  </a:cubicBezTo>
                  <a:cubicBezTo>
                    <a:pt x="39708" y="313925"/>
                    <a:pt x="42417" y="315887"/>
                    <a:pt x="45544" y="316325"/>
                  </a:cubicBezTo>
                  <a:lnTo>
                    <a:pt x="45544" y="316325"/>
                  </a:lnTo>
                  <a:cubicBezTo>
                    <a:pt x="46941" y="320335"/>
                    <a:pt x="50820" y="322945"/>
                    <a:pt x="55050" y="322707"/>
                  </a:cubicBezTo>
                  <a:cubicBezTo>
                    <a:pt x="57825" y="322564"/>
                    <a:pt x="60439" y="321373"/>
                    <a:pt x="62369" y="319373"/>
                  </a:cubicBezTo>
                  <a:cubicBezTo>
                    <a:pt x="72682" y="315430"/>
                    <a:pt x="81789" y="308867"/>
                    <a:pt x="88794" y="300323"/>
                  </a:cubicBezTo>
                  <a:cubicBezTo>
                    <a:pt x="94982" y="293875"/>
                    <a:pt x="101522" y="287769"/>
                    <a:pt x="108375" y="282035"/>
                  </a:cubicBezTo>
                  <a:cubicBezTo>
                    <a:pt x="141170" y="267843"/>
                    <a:pt x="239552" y="225742"/>
                    <a:pt x="243924" y="219742"/>
                  </a:cubicBezTo>
                  <a:cubicBezTo>
                    <a:pt x="250768" y="210693"/>
                    <a:pt x="257707" y="54102"/>
                    <a:pt x="250673" y="2552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15"/>
            <p:cNvSpPr/>
            <p:nvPr/>
          </p:nvSpPr>
          <p:spPr>
            <a:xfrm>
              <a:off x="5965891" y="3514431"/>
              <a:ext cx="72720" cy="103595"/>
            </a:xfrm>
            <a:custGeom>
              <a:avLst/>
              <a:gdLst/>
              <a:ahLst/>
              <a:cxnLst/>
              <a:rect l="l" t="t" r="r" b="b"/>
              <a:pathLst>
                <a:path w="72720" h="103595" extrusionOk="0">
                  <a:moveTo>
                    <a:pt x="70816" y="95541"/>
                  </a:moveTo>
                  <a:cubicBezTo>
                    <a:pt x="70816" y="95541"/>
                    <a:pt x="32129" y="112876"/>
                    <a:pt x="0" y="96684"/>
                  </a:cubicBezTo>
                  <a:lnTo>
                    <a:pt x="4658" y="36009"/>
                  </a:lnTo>
                  <a:cubicBezTo>
                    <a:pt x="4658" y="36009"/>
                    <a:pt x="5133" y="3434"/>
                    <a:pt x="34125" y="195"/>
                  </a:cubicBezTo>
                  <a:cubicBezTo>
                    <a:pt x="63117" y="-3043"/>
                    <a:pt x="78325" y="34200"/>
                    <a:pt x="70816" y="9554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0" name="Google Shape;500;p15"/>
            <p:cNvGrpSpPr/>
            <p:nvPr/>
          </p:nvGrpSpPr>
          <p:grpSpPr>
            <a:xfrm flipH="1">
              <a:off x="2865273" y="3434801"/>
              <a:ext cx="598186" cy="1340314"/>
              <a:chOff x="4210728" y="4525714"/>
              <a:chExt cx="546438" cy="1224366"/>
            </a:xfrm>
          </p:grpSpPr>
          <p:sp>
            <p:nvSpPr>
              <p:cNvPr id="501" name="Google Shape;501;p15"/>
              <p:cNvSpPr/>
              <p:nvPr/>
            </p:nvSpPr>
            <p:spPr>
              <a:xfrm>
                <a:off x="4672107" y="4726590"/>
                <a:ext cx="85002" cy="305847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502;p15"/>
              <p:cNvSpPr/>
              <p:nvPr/>
            </p:nvSpPr>
            <p:spPr>
              <a:xfrm>
                <a:off x="4408366" y="5679962"/>
                <a:ext cx="123900" cy="70118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503;p15"/>
              <p:cNvSpPr/>
              <p:nvPr/>
            </p:nvSpPr>
            <p:spPr>
              <a:xfrm>
                <a:off x="4408245" y="5691663"/>
                <a:ext cx="121939" cy="58416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15"/>
              <p:cNvSpPr/>
              <p:nvPr/>
            </p:nvSpPr>
            <p:spPr>
              <a:xfrm>
                <a:off x="4566152" y="5600798"/>
                <a:ext cx="119416" cy="67472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505;p15"/>
              <p:cNvSpPr/>
              <p:nvPr/>
            </p:nvSpPr>
            <p:spPr>
              <a:xfrm>
                <a:off x="4566197" y="5611939"/>
                <a:ext cx="117340" cy="56332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5"/>
              <p:cNvSpPr/>
              <p:nvPr/>
            </p:nvSpPr>
            <p:spPr>
              <a:xfrm>
                <a:off x="4483409" y="4968525"/>
                <a:ext cx="238054" cy="732926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15"/>
              <p:cNvSpPr/>
              <p:nvPr/>
            </p:nvSpPr>
            <p:spPr>
              <a:xfrm>
                <a:off x="4484426" y="4968525"/>
                <a:ext cx="236925" cy="409866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15"/>
              <p:cNvSpPr/>
              <p:nvPr/>
            </p:nvSpPr>
            <p:spPr>
              <a:xfrm>
                <a:off x="4531702" y="4525767"/>
                <a:ext cx="160521" cy="258577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15"/>
              <p:cNvSpPr/>
              <p:nvPr/>
            </p:nvSpPr>
            <p:spPr>
              <a:xfrm>
                <a:off x="4695825" y="4756088"/>
                <a:ext cx="61341" cy="108805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15"/>
              <p:cNvSpPr/>
              <p:nvPr/>
            </p:nvSpPr>
            <p:spPr>
              <a:xfrm>
                <a:off x="4523612" y="4724507"/>
                <a:ext cx="191546" cy="273865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15"/>
              <p:cNvSpPr/>
              <p:nvPr/>
            </p:nvSpPr>
            <p:spPr>
              <a:xfrm>
                <a:off x="4210728" y="4780936"/>
                <a:ext cx="368747" cy="265455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15"/>
              <p:cNvSpPr/>
              <p:nvPr/>
            </p:nvSpPr>
            <p:spPr>
              <a:xfrm>
                <a:off x="4484370" y="4765472"/>
                <a:ext cx="100785" cy="104755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15"/>
              <p:cNvSpPr/>
              <p:nvPr/>
            </p:nvSpPr>
            <p:spPr>
              <a:xfrm>
                <a:off x="4524935" y="4525714"/>
                <a:ext cx="201012" cy="328692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64514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4" name="Google Shape;1734;p29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1735" name="Google Shape;1735;p29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ablet and Mobile App</a:t>
            </a:r>
            <a:endParaRPr b="1" u="sng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1200" dirty="0"/>
              <a:t>Deploy the app for different screen sizes</a:t>
            </a:r>
            <a:endParaRPr sz="1200" dirty="0"/>
          </a:p>
        </p:txBody>
      </p:sp>
      <p:sp>
        <p:nvSpPr>
          <p:cNvPr id="1736" name="Google Shape;1736;p29"/>
          <p:cNvSpPr txBox="1">
            <a:spLocks noGrp="1"/>
          </p:cNvSpPr>
          <p:nvPr>
            <p:ph type="body" idx="2"/>
          </p:nvPr>
        </p:nvSpPr>
        <p:spPr>
          <a:xfrm>
            <a:off x="3290250" y="1995750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Real-time Update</a:t>
            </a:r>
            <a:endParaRPr b="1" u="sng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1200" dirty="0"/>
              <a:t>Update dashboard with latest job postings</a:t>
            </a:r>
            <a:endParaRPr sz="1200" dirty="0"/>
          </a:p>
        </p:txBody>
      </p:sp>
      <p:sp>
        <p:nvSpPr>
          <p:cNvPr id="1737" name="Google Shape;1737;p29"/>
          <p:cNvSpPr txBox="1">
            <a:spLocks noGrp="1"/>
          </p:cNvSpPr>
          <p:nvPr>
            <p:ph type="body" idx="3"/>
          </p:nvPr>
        </p:nvSpPr>
        <p:spPr>
          <a:xfrm>
            <a:off x="6123300" y="1995750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More user interactions</a:t>
            </a:r>
            <a:endParaRPr b="1" u="sng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sz="1200" dirty="0"/>
              <a:t>Add more features to improve users experience</a:t>
            </a:r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sz="1200" dirty="0"/>
              <a:t>Add more drilldown options (City, Job Titles, Salary range, etc.)</a:t>
            </a:r>
            <a:endParaRPr sz="1200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  <p:sp>
        <p:nvSpPr>
          <p:cNvPr id="1738" name="Google Shape;1738;p29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3</a:t>
            </a:fld>
            <a:endParaRPr/>
          </a:p>
        </p:txBody>
      </p:sp>
      <p:sp>
        <p:nvSpPr>
          <p:cNvPr id="1739" name="Google Shape;1739;p29"/>
          <p:cNvSpPr txBox="1">
            <a:spLocks noGrp="1"/>
          </p:cNvSpPr>
          <p:nvPr>
            <p:ph type="body" idx="1"/>
          </p:nvPr>
        </p:nvSpPr>
        <p:spPr>
          <a:xfrm>
            <a:off x="457200" y="3367350"/>
            <a:ext cx="2563500" cy="1593756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Improve accuracy w/ more data</a:t>
            </a:r>
            <a:endParaRPr b="1" u="sng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1200" dirty="0"/>
              <a:t>Expand database to include job postings and surveys from more countries, and other valuable information such as salaries</a:t>
            </a:r>
          </a:p>
        </p:txBody>
      </p:sp>
      <p:sp>
        <p:nvSpPr>
          <p:cNvPr id="1740" name="Google Shape;1740;p29"/>
          <p:cNvSpPr txBox="1">
            <a:spLocks noGrp="1"/>
          </p:cNvSpPr>
          <p:nvPr>
            <p:ph type="body" idx="2"/>
          </p:nvPr>
        </p:nvSpPr>
        <p:spPr>
          <a:xfrm>
            <a:off x="3290250" y="3367350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rend Predictions</a:t>
            </a:r>
            <a:endParaRPr b="1" u="sng" dirty="0"/>
          </a:p>
          <a:p>
            <a:pPr marL="171450" indent="-171450"/>
            <a:r>
              <a:rPr lang="en" sz="1200" dirty="0"/>
              <a:t>Predict data job demand using Linear Regression</a:t>
            </a:r>
          </a:p>
        </p:txBody>
      </p:sp>
      <p:sp>
        <p:nvSpPr>
          <p:cNvPr id="1741" name="Google Shape;1741;p29"/>
          <p:cNvSpPr txBox="1">
            <a:spLocks noGrp="1"/>
          </p:cNvSpPr>
          <p:nvPr>
            <p:ph type="body" idx="3"/>
          </p:nvPr>
        </p:nvSpPr>
        <p:spPr>
          <a:xfrm>
            <a:off x="6123300" y="3367350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Job Classification</a:t>
            </a:r>
            <a:endParaRPr b="1" u="sng" dirty="0"/>
          </a:p>
          <a:p>
            <a:pPr marL="171450" indent="-171450"/>
            <a:r>
              <a:rPr lang="en" sz="1200" dirty="0"/>
              <a:t>Classify job postings based on key words using natural language processing</a:t>
            </a:r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9" name="Google Shape;2059;p3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4</a:t>
            </a:fld>
            <a:endParaRPr/>
          </a:p>
        </p:txBody>
      </p:sp>
      <p:grpSp>
        <p:nvGrpSpPr>
          <p:cNvPr id="2060" name="Google Shape;2060;p34"/>
          <p:cNvGrpSpPr/>
          <p:nvPr/>
        </p:nvGrpSpPr>
        <p:grpSpPr>
          <a:xfrm>
            <a:off x="5410301" y="719490"/>
            <a:ext cx="3356124" cy="3829046"/>
            <a:chOff x="2602525" y="317054"/>
            <a:chExt cx="4174283" cy="4762495"/>
          </a:xfrm>
        </p:grpSpPr>
        <p:sp>
          <p:nvSpPr>
            <p:cNvPr id="2061" name="Google Shape;2061;p34"/>
            <p:cNvSpPr/>
            <p:nvPr/>
          </p:nvSpPr>
          <p:spPr>
            <a:xfrm>
              <a:off x="3677747" y="776267"/>
              <a:ext cx="2670951" cy="3350306"/>
            </a:xfrm>
            <a:custGeom>
              <a:avLst/>
              <a:gdLst/>
              <a:ahLst/>
              <a:cxnLst/>
              <a:rect l="l" t="t" r="r" b="b"/>
              <a:pathLst>
                <a:path w="2670951" h="3350306" extrusionOk="0">
                  <a:moveTo>
                    <a:pt x="2625857" y="1488073"/>
                  </a:moveTo>
                  <a:lnTo>
                    <a:pt x="60628" y="5983"/>
                  </a:lnTo>
                  <a:cubicBezTo>
                    <a:pt x="51862" y="-199"/>
                    <a:pt x="40631" y="-1694"/>
                    <a:pt x="30552" y="1983"/>
                  </a:cubicBezTo>
                  <a:lnTo>
                    <a:pt x="30552" y="1983"/>
                  </a:lnTo>
                  <a:lnTo>
                    <a:pt x="30552" y="1983"/>
                  </a:lnTo>
                  <a:lnTo>
                    <a:pt x="27982" y="3507"/>
                  </a:lnTo>
                  <a:lnTo>
                    <a:pt x="0" y="19699"/>
                  </a:lnTo>
                  <a:lnTo>
                    <a:pt x="16085" y="42464"/>
                  </a:lnTo>
                  <a:lnTo>
                    <a:pt x="16085" y="1769061"/>
                  </a:lnTo>
                  <a:cubicBezTo>
                    <a:pt x="17798" y="1800712"/>
                    <a:pt x="34483" y="1829649"/>
                    <a:pt x="61009" y="1846975"/>
                  </a:cubicBezTo>
                  <a:lnTo>
                    <a:pt x="2622716" y="3327351"/>
                  </a:lnTo>
                  <a:lnTo>
                    <a:pt x="2626333" y="3350306"/>
                  </a:lnTo>
                  <a:lnTo>
                    <a:pt x="2657456" y="3332304"/>
                  </a:lnTo>
                  <a:lnTo>
                    <a:pt x="2657456" y="3332304"/>
                  </a:lnTo>
                  <a:cubicBezTo>
                    <a:pt x="2666869" y="3325741"/>
                    <a:pt x="2671970" y="3314578"/>
                    <a:pt x="2670781" y="3303157"/>
                  </a:cubicBezTo>
                  <a:lnTo>
                    <a:pt x="2670781" y="1565988"/>
                  </a:lnTo>
                  <a:cubicBezTo>
                    <a:pt x="2669068" y="1534336"/>
                    <a:pt x="2652383" y="1505399"/>
                    <a:pt x="2625857" y="148807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2" name="Google Shape;2062;p34"/>
            <p:cNvSpPr/>
            <p:nvPr/>
          </p:nvSpPr>
          <p:spPr>
            <a:xfrm>
              <a:off x="3662233" y="794118"/>
              <a:ext cx="2655076" cy="3335369"/>
            </a:xfrm>
            <a:custGeom>
              <a:avLst/>
              <a:gdLst/>
              <a:ahLst/>
              <a:cxnLst/>
              <a:rect l="l" t="t" r="r" b="b"/>
              <a:pathLst>
                <a:path w="2655076" h="3335369" extrusionOk="0">
                  <a:moveTo>
                    <a:pt x="2655077" y="1566234"/>
                  </a:moveTo>
                  <a:lnTo>
                    <a:pt x="2655077" y="3303309"/>
                  </a:lnTo>
                  <a:cubicBezTo>
                    <a:pt x="2655077" y="3331884"/>
                    <a:pt x="2635089" y="3343599"/>
                    <a:pt x="2610153" y="3329216"/>
                  </a:cubicBezTo>
                  <a:lnTo>
                    <a:pt x="44924" y="1847031"/>
                  </a:lnTo>
                  <a:cubicBezTo>
                    <a:pt x="18398" y="1829705"/>
                    <a:pt x="1713" y="1800768"/>
                    <a:pt x="0" y="1769117"/>
                  </a:cubicBezTo>
                  <a:lnTo>
                    <a:pt x="0" y="32138"/>
                  </a:lnTo>
                  <a:cubicBezTo>
                    <a:pt x="0" y="3563"/>
                    <a:pt x="20082" y="-8248"/>
                    <a:pt x="44924" y="6134"/>
                  </a:cubicBezTo>
                  <a:lnTo>
                    <a:pt x="2610153" y="1488320"/>
                  </a:lnTo>
                  <a:cubicBezTo>
                    <a:pt x="2636717" y="1505607"/>
                    <a:pt x="2653411" y="1534564"/>
                    <a:pt x="2655077" y="1566234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3" name="Google Shape;2063;p34"/>
            <p:cNvSpPr/>
            <p:nvPr/>
          </p:nvSpPr>
          <p:spPr>
            <a:xfrm>
              <a:off x="3763407" y="1012375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4" name="Google Shape;2064;p34"/>
            <p:cNvSpPr/>
            <p:nvPr/>
          </p:nvSpPr>
          <p:spPr>
            <a:xfrm>
              <a:off x="3763407" y="1170775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5" name="Google Shape;2065;p34"/>
            <p:cNvSpPr/>
            <p:nvPr/>
          </p:nvSpPr>
          <p:spPr>
            <a:xfrm>
              <a:off x="3763407" y="1252119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572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6" name="Google Shape;2066;p34"/>
            <p:cNvSpPr/>
            <p:nvPr/>
          </p:nvSpPr>
          <p:spPr>
            <a:xfrm>
              <a:off x="3763407" y="1333558"/>
              <a:ext cx="1235786" cy="759428"/>
            </a:xfrm>
            <a:custGeom>
              <a:avLst/>
              <a:gdLst/>
              <a:ahLst/>
              <a:cxnLst/>
              <a:rect l="l" t="t" r="r" b="b"/>
              <a:pathLst>
                <a:path w="1235786" h="759428" extrusionOk="0">
                  <a:moveTo>
                    <a:pt x="1235787" y="759428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42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7" name="Google Shape;2067;p34"/>
            <p:cNvSpPr/>
            <p:nvPr/>
          </p:nvSpPr>
          <p:spPr>
            <a:xfrm>
              <a:off x="5632982" y="2768594"/>
              <a:ext cx="578775" cy="425291"/>
            </a:xfrm>
            <a:custGeom>
              <a:avLst/>
              <a:gdLst/>
              <a:ahLst/>
              <a:cxnLst/>
              <a:rect l="l" t="t" r="r" b="b"/>
              <a:pathLst>
                <a:path w="578775" h="425291" extrusionOk="0">
                  <a:moveTo>
                    <a:pt x="578775" y="425291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578775" y="334328"/>
                  </a:lnTo>
                  <a:lnTo>
                    <a:pt x="578775" y="42529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8" name="Google Shape;2068;p34"/>
            <p:cNvSpPr/>
            <p:nvPr/>
          </p:nvSpPr>
          <p:spPr>
            <a:xfrm>
              <a:off x="5632982" y="2926995"/>
              <a:ext cx="548794" cy="362521"/>
            </a:xfrm>
            <a:custGeom>
              <a:avLst/>
              <a:gdLst/>
              <a:ahLst/>
              <a:cxnLst/>
              <a:rect l="l" t="t" r="r" b="b"/>
              <a:pathLst>
                <a:path w="548794" h="362521" extrusionOk="0">
                  <a:moveTo>
                    <a:pt x="548795" y="36252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548795" y="317087"/>
                  </a:lnTo>
                  <a:lnTo>
                    <a:pt x="548795" y="362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9" name="Google Shape;2069;p34"/>
            <p:cNvSpPr/>
            <p:nvPr/>
          </p:nvSpPr>
          <p:spPr>
            <a:xfrm>
              <a:off x="5632982" y="3008338"/>
              <a:ext cx="484930" cy="325659"/>
            </a:xfrm>
            <a:custGeom>
              <a:avLst/>
              <a:gdLst/>
              <a:ahLst/>
              <a:cxnLst/>
              <a:rect l="l" t="t" r="r" b="b"/>
              <a:pathLst>
                <a:path w="484930" h="325659" extrusionOk="0">
                  <a:moveTo>
                    <a:pt x="484930" y="325660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84930" y="280226"/>
                  </a:lnTo>
                  <a:lnTo>
                    <a:pt x="484930" y="325660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0" name="Google Shape;2070;p34"/>
            <p:cNvSpPr/>
            <p:nvPr/>
          </p:nvSpPr>
          <p:spPr>
            <a:xfrm>
              <a:off x="5632982" y="3089777"/>
              <a:ext cx="454092" cy="307752"/>
            </a:xfrm>
            <a:custGeom>
              <a:avLst/>
              <a:gdLst/>
              <a:ahLst/>
              <a:cxnLst/>
              <a:rect l="l" t="t" r="r" b="b"/>
              <a:pathLst>
                <a:path w="454092" h="307752" extrusionOk="0">
                  <a:moveTo>
                    <a:pt x="454093" y="30775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54093" y="262319"/>
                  </a:lnTo>
                  <a:lnTo>
                    <a:pt x="454093" y="3077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1" name="Google Shape;2071;p34"/>
            <p:cNvSpPr/>
            <p:nvPr/>
          </p:nvSpPr>
          <p:spPr>
            <a:xfrm>
              <a:off x="3763407" y="1505008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8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2" name="Google Shape;2072;p34"/>
            <p:cNvSpPr/>
            <p:nvPr/>
          </p:nvSpPr>
          <p:spPr>
            <a:xfrm>
              <a:off x="3763407" y="1663408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3" name="Google Shape;2073;p34"/>
            <p:cNvSpPr/>
            <p:nvPr/>
          </p:nvSpPr>
          <p:spPr>
            <a:xfrm>
              <a:off x="3763407" y="1744847"/>
              <a:ext cx="1319638" cy="807910"/>
            </a:xfrm>
            <a:custGeom>
              <a:avLst/>
              <a:gdLst/>
              <a:ahLst/>
              <a:cxnLst/>
              <a:rect l="l" t="t" r="r" b="b"/>
              <a:pathLst>
                <a:path w="1319638" h="807910" extrusionOk="0">
                  <a:moveTo>
                    <a:pt x="1319638" y="80791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791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4" name="Google Shape;2074;p34"/>
            <p:cNvSpPr/>
            <p:nvPr/>
          </p:nvSpPr>
          <p:spPr>
            <a:xfrm>
              <a:off x="3763407" y="1826191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5" name="Google Shape;2075;p34"/>
            <p:cNvSpPr/>
            <p:nvPr/>
          </p:nvSpPr>
          <p:spPr>
            <a:xfrm>
              <a:off x="3763407" y="1997641"/>
              <a:ext cx="1575095" cy="1001077"/>
            </a:xfrm>
            <a:custGeom>
              <a:avLst/>
              <a:gdLst/>
              <a:ahLst/>
              <a:cxnLst/>
              <a:rect l="l" t="t" r="r" b="b"/>
              <a:pathLst>
                <a:path w="1575095" h="1001077" extrusionOk="0">
                  <a:moveTo>
                    <a:pt x="1575095" y="1001078"/>
                  </a:moveTo>
                  <a:lnTo>
                    <a:pt x="0" y="90964"/>
                  </a:lnTo>
                  <a:lnTo>
                    <a:pt x="0" y="0"/>
                  </a:lnTo>
                  <a:lnTo>
                    <a:pt x="1575095" y="910209"/>
                  </a:lnTo>
                  <a:lnTo>
                    <a:pt x="1575095" y="100107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6" name="Google Shape;2076;p34"/>
            <p:cNvSpPr/>
            <p:nvPr/>
          </p:nvSpPr>
          <p:spPr>
            <a:xfrm>
              <a:off x="3763407" y="2156137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870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7" name="Google Shape;2077;p34"/>
            <p:cNvSpPr/>
            <p:nvPr/>
          </p:nvSpPr>
          <p:spPr>
            <a:xfrm>
              <a:off x="3763407" y="2237480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8" name="Google Shape;2078;p34"/>
            <p:cNvSpPr/>
            <p:nvPr/>
          </p:nvSpPr>
          <p:spPr>
            <a:xfrm>
              <a:off x="3763407" y="2318824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235787" y="714089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9" name="Google Shape;2079;p34"/>
            <p:cNvSpPr/>
            <p:nvPr/>
          </p:nvSpPr>
          <p:spPr>
            <a:xfrm>
              <a:off x="3763407" y="2490369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0" name="Google Shape;2080;p34"/>
            <p:cNvSpPr/>
            <p:nvPr/>
          </p:nvSpPr>
          <p:spPr>
            <a:xfrm>
              <a:off x="3763407" y="2648770"/>
              <a:ext cx="1493528" cy="887920"/>
            </a:xfrm>
            <a:custGeom>
              <a:avLst/>
              <a:gdLst/>
              <a:ahLst/>
              <a:cxnLst/>
              <a:rect l="l" t="t" r="r" b="b"/>
              <a:pathLst>
                <a:path w="1493528" h="887920" extrusionOk="0">
                  <a:moveTo>
                    <a:pt x="1493528" y="862965"/>
                  </a:moveTo>
                  <a:lnTo>
                    <a:pt x="1493528" y="887920"/>
                  </a:lnTo>
                  <a:lnTo>
                    <a:pt x="0" y="24955"/>
                  </a:lnTo>
                  <a:lnTo>
                    <a:pt x="0" y="0"/>
                  </a:lnTo>
                  <a:lnTo>
                    <a:pt x="1493528" y="862965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1" name="Google Shape;2081;p34"/>
            <p:cNvSpPr/>
            <p:nvPr/>
          </p:nvSpPr>
          <p:spPr>
            <a:xfrm>
              <a:off x="5633267" y="2100963"/>
              <a:ext cx="578489" cy="901329"/>
            </a:xfrm>
            <a:custGeom>
              <a:avLst/>
              <a:gdLst/>
              <a:ahLst/>
              <a:cxnLst/>
              <a:rect l="l" t="t" r="r" b="b"/>
              <a:pathLst>
                <a:path w="578489" h="901329" extrusionOk="0">
                  <a:moveTo>
                    <a:pt x="560502" y="899184"/>
                  </a:moveTo>
                  <a:lnTo>
                    <a:pt x="17989" y="585621"/>
                  </a:lnTo>
                  <a:cubicBezTo>
                    <a:pt x="6910" y="577639"/>
                    <a:pt x="247" y="564895"/>
                    <a:pt x="0" y="551236"/>
                  </a:cubicBezTo>
                  <a:lnTo>
                    <a:pt x="0" y="15645"/>
                  </a:lnTo>
                  <a:cubicBezTo>
                    <a:pt x="0" y="2405"/>
                    <a:pt x="8090" y="-3405"/>
                    <a:pt x="17989" y="2024"/>
                  </a:cubicBezTo>
                  <a:lnTo>
                    <a:pt x="560502" y="315587"/>
                  </a:lnTo>
                  <a:cubicBezTo>
                    <a:pt x="571580" y="323569"/>
                    <a:pt x="578242" y="336314"/>
                    <a:pt x="578490" y="349973"/>
                  </a:cubicBezTo>
                  <a:lnTo>
                    <a:pt x="578490" y="885563"/>
                  </a:lnTo>
                  <a:cubicBezTo>
                    <a:pt x="578490" y="898803"/>
                    <a:pt x="570400" y="904899"/>
                    <a:pt x="560502" y="8991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2" name="Google Shape;2082;p34"/>
            <p:cNvSpPr/>
            <p:nvPr/>
          </p:nvSpPr>
          <p:spPr>
            <a:xfrm>
              <a:off x="3680697" y="317054"/>
              <a:ext cx="2667830" cy="1909376"/>
            </a:xfrm>
            <a:custGeom>
              <a:avLst/>
              <a:gdLst/>
              <a:ahLst/>
              <a:cxnLst/>
              <a:rect l="l" t="t" r="r" b="b"/>
              <a:pathLst>
                <a:path w="2667830" h="1909376" extrusionOk="0">
                  <a:moveTo>
                    <a:pt x="2622906" y="1487514"/>
                  </a:moveTo>
                  <a:lnTo>
                    <a:pt x="57678" y="5329"/>
                  </a:lnTo>
                  <a:cubicBezTo>
                    <a:pt x="49302" y="-517"/>
                    <a:pt x="38518" y="-1633"/>
                    <a:pt x="29124" y="2376"/>
                  </a:cubicBezTo>
                  <a:lnTo>
                    <a:pt x="29124" y="2376"/>
                  </a:lnTo>
                  <a:lnTo>
                    <a:pt x="29124" y="2376"/>
                  </a:lnTo>
                  <a:lnTo>
                    <a:pt x="28553" y="2376"/>
                  </a:lnTo>
                  <a:lnTo>
                    <a:pt x="0" y="18378"/>
                  </a:lnTo>
                  <a:lnTo>
                    <a:pt x="12563" y="38762"/>
                  </a:lnTo>
                  <a:lnTo>
                    <a:pt x="12563" y="320416"/>
                  </a:lnTo>
                  <a:cubicBezTo>
                    <a:pt x="12563" y="353468"/>
                    <a:pt x="32741" y="391949"/>
                    <a:pt x="57583" y="406141"/>
                  </a:cubicBezTo>
                  <a:lnTo>
                    <a:pt x="2617386" y="1885374"/>
                  </a:lnTo>
                  <a:lnTo>
                    <a:pt x="2618719" y="1909377"/>
                  </a:lnTo>
                  <a:lnTo>
                    <a:pt x="2651174" y="1891470"/>
                  </a:lnTo>
                  <a:lnTo>
                    <a:pt x="2651936" y="1890993"/>
                  </a:lnTo>
                  <a:lnTo>
                    <a:pt x="2652888" y="1890517"/>
                  </a:lnTo>
                  <a:lnTo>
                    <a:pt x="2652888" y="1890517"/>
                  </a:lnTo>
                  <a:cubicBezTo>
                    <a:pt x="2662405" y="1884897"/>
                    <a:pt x="2667830" y="1872324"/>
                    <a:pt x="2667830" y="1854608"/>
                  </a:cubicBezTo>
                  <a:lnTo>
                    <a:pt x="2667830" y="1573525"/>
                  </a:lnTo>
                  <a:cubicBezTo>
                    <a:pt x="2667830" y="1540378"/>
                    <a:pt x="2647653" y="1501897"/>
                    <a:pt x="2622906" y="148751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3" name="Google Shape;2083;p34"/>
            <p:cNvSpPr/>
            <p:nvPr/>
          </p:nvSpPr>
          <p:spPr>
            <a:xfrm>
              <a:off x="3662233" y="334831"/>
              <a:ext cx="2655171" cy="1893451"/>
            </a:xfrm>
            <a:custGeom>
              <a:avLst/>
              <a:gdLst/>
              <a:ahLst/>
              <a:cxnLst/>
              <a:rect l="l" t="t" r="r" b="b"/>
              <a:pathLst>
                <a:path w="2655171" h="1893451" extrusionOk="0">
                  <a:moveTo>
                    <a:pt x="2610153" y="1888076"/>
                  </a:moveTo>
                  <a:lnTo>
                    <a:pt x="44924" y="405890"/>
                  </a:lnTo>
                  <a:cubicBezTo>
                    <a:pt x="20082" y="391508"/>
                    <a:pt x="0" y="353027"/>
                    <a:pt x="0" y="320165"/>
                  </a:cubicBezTo>
                  <a:lnTo>
                    <a:pt x="0" y="39368"/>
                  </a:lnTo>
                  <a:cubicBezTo>
                    <a:pt x="0" y="6317"/>
                    <a:pt x="20082" y="-8923"/>
                    <a:pt x="44924" y="5364"/>
                  </a:cubicBezTo>
                  <a:lnTo>
                    <a:pt x="2610153" y="1487168"/>
                  </a:lnTo>
                  <a:cubicBezTo>
                    <a:pt x="2634994" y="1501551"/>
                    <a:pt x="2655172" y="1540032"/>
                    <a:pt x="2655172" y="1572893"/>
                  </a:cubicBezTo>
                  <a:lnTo>
                    <a:pt x="2655172" y="1853976"/>
                  </a:lnTo>
                  <a:cubicBezTo>
                    <a:pt x="2655172" y="1887218"/>
                    <a:pt x="2634994" y="1902363"/>
                    <a:pt x="2610153" y="1888076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4" name="Google Shape;2084;p34"/>
            <p:cNvSpPr/>
            <p:nvPr/>
          </p:nvSpPr>
          <p:spPr>
            <a:xfrm>
              <a:off x="3763692" y="506668"/>
              <a:ext cx="2448064" cy="1546988"/>
            </a:xfrm>
            <a:custGeom>
              <a:avLst/>
              <a:gdLst/>
              <a:ahLst/>
              <a:cxnLst/>
              <a:rect l="l" t="t" r="r" b="b"/>
              <a:pathLst>
                <a:path w="2448064" h="1546988" extrusionOk="0">
                  <a:moveTo>
                    <a:pt x="2430077" y="1544789"/>
                  </a:moveTo>
                  <a:lnTo>
                    <a:pt x="17703" y="150995"/>
                  </a:lnTo>
                  <a:cubicBezTo>
                    <a:pt x="6701" y="142981"/>
                    <a:pt x="133" y="130229"/>
                    <a:pt x="0" y="116610"/>
                  </a:cubicBezTo>
                  <a:lnTo>
                    <a:pt x="0" y="15645"/>
                  </a:lnTo>
                  <a:cubicBezTo>
                    <a:pt x="0" y="2405"/>
                    <a:pt x="7995" y="-3405"/>
                    <a:pt x="17989" y="2024"/>
                  </a:cubicBezTo>
                  <a:lnTo>
                    <a:pt x="2430077" y="1395913"/>
                  </a:lnTo>
                  <a:cubicBezTo>
                    <a:pt x="2441174" y="1403876"/>
                    <a:pt x="2447846" y="1416630"/>
                    <a:pt x="2448065" y="1430298"/>
                  </a:cubicBezTo>
                  <a:lnTo>
                    <a:pt x="2448065" y="1531168"/>
                  </a:lnTo>
                  <a:cubicBezTo>
                    <a:pt x="2448065" y="1544503"/>
                    <a:pt x="2439975" y="1550599"/>
                    <a:pt x="2430077" y="154478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5" name="Google Shape;2085;p34"/>
            <p:cNvSpPr/>
            <p:nvPr/>
          </p:nvSpPr>
          <p:spPr>
            <a:xfrm>
              <a:off x="6042246" y="1815046"/>
              <a:ext cx="173984" cy="241344"/>
            </a:xfrm>
            <a:custGeom>
              <a:avLst/>
              <a:gdLst/>
              <a:ahLst/>
              <a:cxnLst/>
              <a:rect l="l" t="t" r="r" b="b"/>
              <a:pathLst>
                <a:path w="173984" h="241344" extrusionOk="0">
                  <a:moveTo>
                    <a:pt x="155996" y="239077"/>
                  </a:moveTo>
                  <a:lnTo>
                    <a:pt x="0" y="148876"/>
                  </a:lnTo>
                  <a:lnTo>
                    <a:pt x="0" y="0"/>
                  </a:lnTo>
                  <a:lnTo>
                    <a:pt x="155996" y="90106"/>
                  </a:lnTo>
                  <a:cubicBezTo>
                    <a:pt x="167094" y="98069"/>
                    <a:pt x="173766" y="110823"/>
                    <a:pt x="173985" y="124492"/>
                  </a:cubicBezTo>
                  <a:lnTo>
                    <a:pt x="173985" y="225457"/>
                  </a:lnTo>
                  <a:cubicBezTo>
                    <a:pt x="173985" y="238696"/>
                    <a:pt x="165895" y="245078"/>
                    <a:pt x="155996" y="2390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6" name="Google Shape;2086;p34"/>
            <p:cNvSpPr/>
            <p:nvPr/>
          </p:nvSpPr>
          <p:spPr>
            <a:xfrm>
              <a:off x="3824606" y="578160"/>
              <a:ext cx="40165" cy="72472"/>
            </a:xfrm>
            <a:custGeom>
              <a:avLst/>
              <a:gdLst/>
              <a:ahLst/>
              <a:cxnLst/>
              <a:rect l="l" t="t" r="r" b="b"/>
              <a:pathLst>
                <a:path w="40165" h="72472" extrusionOk="0">
                  <a:moveTo>
                    <a:pt x="19702" y="39213"/>
                  </a:moveTo>
                  <a:cubicBezTo>
                    <a:pt x="14343" y="34706"/>
                    <a:pt x="9642" y="29481"/>
                    <a:pt x="5711" y="23687"/>
                  </a:cubicBezTo>
                  <a:cubicBezTo>
                    <a:pt x="3103" y="19577"/>
                    <a:pt x="1656" y="14838"/>
                    <a:pt x="1523" y="9971"/>
                  </a:cubicBezTo>
                  <a:cubicBezTo>
                    <a:pt x="1523" y="4892"/>
                    <a:pt x="3236" y="1716"/>
                    <a:pt x="6663" y="446"/>
                  </a:cubicBezTo>
                  <a:cubicBezTo>
                    <a:pt x="11402" y="-686"/>
                    <a:pt x="16390" y="362"/>
                    <a:pt x="20273" y="3304"/>
                  </a:cubicBezTo>
                  <a:cubicBezTo>
                    <a:pt x="27820" y="7698"/>
                    <a:pt x="33779" y="14365"/>
                    <a:pt x="37310" y="22354"/>
                  </a:cubicBezTo>
                  <a:cubicBezTo>
                    <a:pt x="38899" y="25889"/>
                    <a:pt x="39746" y="29716"/>
                    <a:pt x="39784" y="33593"/>
                  </a:cubicBezTo>
                  <a:lnTo>
                    <a:pt x="32456" y="29307"/>
                  </a:lnTo>
                  <a:cubicBezTo>
                    <a:pt x="32446" y="25435"/>
                    <a:pt x="31361" y="21642"/>
                    <a:pt x="29315" y="18353"/>
                  </a:cubicBezTo>
                  <a:cubicBezTo>
                    <a:pt x="27059" y="14814"/>
                    <a:pt x="23947" y="11899"/>
                    <a:pt x="20273" y="9876"/>
                  </a:cubicBezTo>
                  <a:cubicBezTo>
                    <a:pt x="17893" y="8035"/>
                    <a:pt x="14867" y="7244"/>
                    <a:pt x="11897" y="7685"/>
                  </a:cubicBezTo>
                  <a:cubicBezTo>
                    <a:pt x="9899" y="8352"/>
                    <a:pt x="8852" y="10352"/>
                    <a:pt x="8852" y="13591"/>
                  </a:cubicBezTo>
                  <a:cubicBezTo>
                    <a:pt x="8956" y="16577"/>
                    <a:pt x="9946" y="19463"/>
                    <a:pt x="11707" y="21878"/>
                  </a:cubicBezTo>
                  <a:cubicBezTo>
                    <a:pt x="14410" y="25801"/>
                    <a:pt x="17608" y="29356"/>
                    <a:pt x="21225" y="32450"/>
                  </a:cubicBezTo>
                  <a:cubicBezTo>
                    <a:pt x="25289" y="35896"/>
                    <a:pt x="29077" y="39653"/>
                    <a:pt x="32551" y="43690"/>
                  </a:cubicBezTo>
                  <a:cubicBezTo>
                    <a:pt x="34911" y="46585"/>
                    <a:pt x="36862" y="49789"/>
                    <a:pt x="38357" y="53215"/>
                  </a:cubicBezTo>
                  <a:cubicBezTo>
                    <a:pt x="39565" y="56243"/>
                    <a:pt x="40184" y="59478"/>
                    <a:pt x="40165" y="62740"/>
                  </a:cubicBezTo>
                  <a:cubicBezTo>
                    <a:pt x="40165" y="67883"/>
                    <a:pt x="38452" y="71027"/>
                    <a:pt x="34930" y="72265"/>
                  </a:cubicBezTo>
                  <a:cubicBezTo>
                    <a:pt x="30000" y="73000"/>
                    <a:pt x="24975" y="71769"/>
                    <a:pt x="20939" y="68836"/>
                  </a:cubicBezTo>
                  <a:cubicBezTo>
                    <a:pt x="16989" y="66477"/>
                    <a:pt x="13392" y="63558"/>
                    <a:pt x="10279" y="60168"/>
                  </a:cubicBezTo>
                  <a:cubicBezTo>
                    <a:pt x="7177" y="56803"/>
                    <a:pt x="4607" y="52980"/>
                    <a:pt x="2665" y="48833"/>
                  </a:cubicBezTo>
                  <a:cubicBezTo>
                    <a:pt x="980" y="45220"/>
                    <a:pt x="76" y="41293"/>
                    <a:pt x="0" y="37308"/>
                  </a:cubicBezTo>
                  <a:lnTo>
                    <a:pt x="7329" y="41594"/>
                  </a:lnTo>
                  <a:cubicBezTo>
                    <a:pt x="7395" y="45632"/>
                    <a:pt x="8690" y="49553"/>
                    <a:pt x="11041" y="52834"/>
                  </a:cubicBezTo>
                  <a:cubicBezTo>
                    <a:pt x="13468" y="56677"/>
                    <a:pt x="16713" y="59932"/>
                    <a:pt x="20558" y="62359"/>
                  </a:cubicBezTo>
                  <a:cubicBezTo>
                    <a:pt x="23109" y="64223"/>
                    <a:pt x="26269" y="65072"/>
                    <a:pt x="29410" y="64740"/>
                  </a:cubicBezTo>
                  <a:cubicBezTo>
                    <a:pt x="31504" y="64073"/>
                    <a:pt x="32456" y="62168"/>
                    <a:pt x="32456" y="59025"/>
                  </a:cubicBezTo>
                  <a:cubicBezTo>
                    <a:pt x="32427" y="55849"/>
                    <a:pt x="31437" y="52758"/>
                    <a:pt x="29600" y="50167"/>
                  </a:cubicBezTo>
                  <a:cubicBezTo>
                    <a:pt x="26726" y="46153"/>
                    <a:pt x="23404" y="42479"/>
                    <a:pt x="19702" y="39213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7" name="Google Shape;2087;p34"/>
            <p:cNvSpPr/>
            <p:nvPr/>
          </p:nvSpPr>
          <p:spPr>
            <a:xfrm>
              <a:off x="3871213" y="621212"/>
              <a:ext cx="35348" cy="54941"/>
            </a:xfrm>
            <a:custGeom>
              <a:avLst/>
              <a:gdLst/>
              <a:ahLst/>
              <a:cxnLst/>
              <a:rect l="l" t="t" r="r" b="b"/>
              <a:pathLst>
                <a:path w="35348" h="54941" extrusionOk="0">
                  <a:moveTo>
                    <a:pt x="18875" y="51977"/>
                  </a:moveTo>
                  <a:cubicBezTo>
                    <a:pt x="13135" y="48563"/>
                    <a:pt x="8434" y="43659"/>
                    <a:pt x="5264" y="37785"/>
                  </a:cubicBezTo>
                  <a:cubicBezTo>
                    <a:pt x="1838" y="31676"/>
                    <a:pt x="39" y="24788"/>
                    <a:pt x="29" y="17782"/>
                  </a:cubicBezTo>
                  <a:lnTo>
                    <a:pt x="29" y="16354"/>
                  </a:lnTo>
                  <a:cubicBezTo>
                    <a:pt x="-170" y="12433"/>
                    <a:pt x="648" y="8529"/>
                    <a:pt x="2409" y="5019"/>
                  </a:cubicBezTo>
                  <a:cubicBezTo>
                    <a:pt x="3665" y="2461"/>
                    <a:pt x="6073" y="656"/>
                    <a:pt x="8881" y="161"/>
                  </a:cubicBezTo>
                  <a:cubicBezTo>
                    <a:pt x="12203" y="-359"/>
                    <a:pt x="15601" y="390"/>
                    <a:pt x="18399" y="2257"/>
                  </a:cubicBezTo>
                  <a:cubicBezTo>
                    <a:pt x="23757" y="5352"/>
                    <a:pt x="28097" y="9957"/>
                    <a:pt x="30867" y="15496"/>
                  </a:cubicBezTo>
                  <a:cubicBezTo>
                    <a:pt x="33932" y="21744"/>
                    <a:pt x="35474" y="28634"/>
                    <a:pt x="35340" y="35594"/>
                  </a:cubicBezTo>
                  <a:lnTo>
                    <a:pt x="35340" y="38737"/>
                  </a:lnTo>
                  <a:lnTo>
                    <a:pt x="6692" y="22831"/>
                  </a:lnTo>
                  <a:cubicBezTo>
                    <a:pt x="6797" y="27522"/>
                    <a:pt x="8005" y="32121"/>
                    <a:pt x="10213" y="36261"/>
                  </a:cubicBezTo>
                  <a:cubicBezTo>
                    <a:pt x="12136" y="40198"/>
                    <a:pt x="15134" y="43503"/>
                    <a:pt x="18875" y="45786"/>
                  </a:cubicBezTo>
                  <a:cubicBezTo>
                    <a:pt x="20721" y="47055"/>
                    <a:pt x="22920" y="47720"/>
                    <a:pt x="25156" y="47691"/>
                  </a:cubicBezTo>
                  <a:cubicBezTo>
                    <a:pt x="26870" y="47538"/>
                    <a:pt x="28488" y="46798"/>
                    <a:pt x="29725" y="45595"/>
                  </a:cubicBezTo>
                  <a:lnTo>
                    <a:pt x="34008" y="51977"/>
                  </a:lnTo>
                  <a:cubicBezTo>
                    <a:pt x="30962" y="55882"/>
                    <a:pt x="25727" y="55978"/>
                    <a:pt x="18875" y="51977"/>
                  </a:cubicBezTo>
                  <a:close/>
                  <a:moveTo>
                    <a:pt x="18018" y="8924"/>
                  </a:moveTo>
                  <a:cubicBezTo>
                    <a:pt x="15962" y="7338"/>
                    <a:pt x="13164" y="7114"/>
                    <a:pt x="10880" y="8353"/>
                  </a:cubicBezTo>
                  <a:cubicBezTo>
                    <a:pt x="8567" y="10355"/>
                    <a:pt x="7273" y="13292"/>
                    <a:pt x="7358" y="16354"/>
                  </a:cubicBezTo>
                  <a:lnTo>
                    <a:pt x="27916" y="28260"/>
                  </a:lnTo>
                  <a:lnTo>
                    <a:pt x="27916" y="27593"/>
                  </a:lnTo>
                  <a:cubicBezTo>
                    <a:pt x="27821" y="23668"/>
                    <a:pt x="26812" y="19820"/>
                    <a:pt x="24966" y="16354"/>
                  </a:cubicBezTo>
                  <a:cubicBezTo>
                    <a:pt x="23405" y="13263"/>
                    <a:pt x="20997" y="10684"/>
                    <a:pt x="18018" y="892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8" name="Google Shape;2088;p34"/>
            <p:cNvSpPr/>
            <p:nvPr/>
          </p:nvSpPr>
          <p:spPr>
            <a:xfrm>
              <a:off x="3913502" y="644554"/>
              <a:ext cx="33883" cy="60925"/>
            </a:xfrm>
            <a:custGeom>
              <a:avLst/>
              <a:gdLst/>
              <a:ahLst/>
              <a:cxnLst/>
              <a:rect l="l" t="t" r="r" b="b"/>
              <a:pathLst>
                <a:path w="33883" h="60925" extrusionOk="0">
                  <a:moveTo>
                    <a:pt x="26174" y="56353"/>
                  </a:moveTo>
                  <a:cubicBezTo>
                    <a:pt x="25593" y="54563"/>
                    <a:pt x="25241" y="52707"/>
                    <a:pt x="25127" y="50829"/>
                  </a:cubicBezTo>
                  <a:cubicBezTo>
                    <a:pt x="21386" y="52815"/>
                    <a:pt x="16837" y="52482"/>
                    <a:pt x="13420" y="49972"/>
                  </a:cubicBezTo>
                  <a:cubicBezTo>
                    <a:pt x="9537" y="47601"/>
                    <a:pt x="6272" y="44336"/>
                    <a:pt x="3902" y="40447"/>
                  </a:cubicBezTo>
                  <a:cubicBezTo>
                    <a:pt x="1418" y="36827"/>
                    <a:pt x="57" y="32551"/>
                    <a:pt x="0" y="28159"/>
                  </a:cubicBezTo>
                  <a:cubicBezTo>
                    <a:pt x="0" y="23206"/>
                    <a:pt x="1618" y="20349"/>
                    <a:pt x="4854" y="19492"/>
                  </a:cubicBezTo>
                  <a:cubicBezTo>
                    <a:pt x="9737" y="19010"/>
                    <a:pt x="14629" y="20368"/>
                    <a:pt x="18560" y="23302"/>
                  </a:cubicBezTo>
                  <a:lnTo>
                    <a:pt x="25412" y="27207"/>
                  </a:lnTo>
                  <a:lnTo>
                    <a:pt x="25412" y="23492"/>
                  </a:lnTo>
                  <a:cubicBezTo>
                    <a:pt x="25403" y="20678"/>
                    <a:pt x="24651" y="17915"/>
                    <a:pt x="23223" y="15491"/>
                  </a:cubicBezTo>
                  <a:cubicBezTo>
                    <a:pt x="21662" y="12855"/>
                    <a:pt x="19435" y="10684"/>
                    <a:pt x="16751" y="9205"/>
                  </a:cubicBezTo>
                  <a:cubicBezTo>
                    <a:pt x="14895" y="7913"/>
                    <a:pt x="12601" y="7401"/>
                    <a:pt x="10374" y="7776"/>
                  </a:cubicBezTo>
                  <a:cubicBezTo>
                    <a:pt x="8728" y="8273"/>
                    <a:pt x="7690" y="9882"/>
                    <a:pt x="7900" y="11586"/>
                  </a:cubicBezTo>
                  <a:lnTo>
                    <a:pt x="761" y="7490"/>
                  </a:lnTo>
                  <a:cubicBezTo>
                    <a:pt x="676" y="5394"/>
                    <a:pt x="1466" y="3356"/>
                    <a:pt x="2950" y="1870"/>
                  </a:cubicBezTo>
                  <a:cubicBezTo>
                    <a:pt x="4607" y="446"/>
                    <a:pt x="6786" y="-213"/>
                    <a:pt x="8947" y="61"/>
                  </a:cubicBezTo>
                  <a:cubicBezTo>
                    <a:pt x="11850" y="393"/>
                    <a:pt x="14648" y="1369"/>
                    <a:pt x="17132" y="2918"/>
                  </a:cubicBezTo>
                  <a:cubicBezTo>
                    <a:pt x="21681" y="5399"/>
                    <a:pt x="25517" y="9008"/>
                    <a:pt x="28268" y="13396"/>
                  </a:cubicBezTo>
                  <a:cubicBezTo>
                    <a:pt x="30895" y="17497"/>
                    <a:pt x="32341" y="22242"/>
                    <a:pt x="32455" y="27112"/>
                  </a:cubicBezTo>
                  <a:lnTo>
                    <a:pt x="32455" y="49019"/>
                  </a:lnTo>
                  <a:cubicBezTo>
                    <a:pt x="32379" y="52815"/>
                    <a:pt x="32865" y="56602"/>
                    <a:pt x="33883" y="60259"/>
                  </a:cubicBezTo>
                  <a:lnTo>
                    <a:pt x="33883" y="60925"/>
                  </a:lnTo>
                  <a:close/>
                  <a:moveTo>
                    <a:pt x="14467" y="43971"/>
                  </a:moveTo>
                  <a:cubicBezTo>
                    <a:pt x="16342" y="45144"/>
                    <a:pt x="18541" y="45710"/>
                    <a:pt x="20749" y="45590"/>
                  </a:cubicBezTo>
                  <a:cubicBezTo>
                    <a:pt x="22547" y="45530"/>
                    <a:pt x="24185" y="44514"/>
                    <a:pt x="25032" y="42923"/>
                  </a:cubicBezTo>
                  <a:lnTo>
                    <a:pt x="25032" y="33398"/>
                  </a:lnTo>
                  <a:lnTo>
                    <a:pt x="19511" y="30160"/>
                  </a:lnTo>
                  <a:cubicBezTo>
                    <a:pt x="10945" y="25207"/>
                    <a:pt x="6662" y="25683"/>
                    <a:pt x="6662" y="31493"/>
                  </a:cubicBezTo>
                  <a:cubicBezTo>
                    <a:pt x="6653" y="34072"/>
                    <a:pt x="7414" y="36593"/>
                    <a:pt x="8851" y="38732"/>
                  </a:cubicBezTo>
                  <a:cubicBezTo>
                    <a:pt x="10270" y="40907"/>
                    <a:pt x="12202" y="42704"/>
                    <a:pt x="14467" y="4397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9" name="Google Shape;2089;p34"/>
            <p:cNvSpPr/>
            <p:nvPr/>
          </p:nvSpPr>
          <p:spPr>
            <a:xfrm>
              <a:off x="3956522" y="663093"/>
              <a:ext cx="19892" cy="51720"/>
            </a:xfrm>
            <a:custGeom>
              <a:avLst/>
              <a:gdLst/>
              <a:ahLst/>
              <a:cxnLst/>
              <a:rect l="l" t="t" r="r" b="b"/>
              <a:pathLst>
                <a:path w="19892" h="51720" extrusionOk="0">
                  <a:moveTo>
                    <a:pt x="19892" y="18955"/>
                  </a:moveTo>
                  <a:cubicBezTo>
                    <a:pt x="18807" y="18085"/>
                    <a:pt x="17656" y="17290"/>
                    <a:pt x="16466" y="16573"/>
                  </a:cubicBezTo>
                  <a:cubicBezTo>
                    <a:pt x="11897" y="13906"/>
                    <a:pt x="8728" y="14383"/>
                    <a:pt x="6948" y="18002"/>
                  </a:cubicBezTo>
                  <a:lnTo>
                    <a:pt x="6948" y="51721"/>
                  </a:lnTo>
                  <a:lnTo>
                    <a:pt x="0" y="47625"/>
                  </a:lnTo>
                  <a:lnTo>
                    <a:pt x="0" y="0"/>
                  </a:lnTo>
                  <a:lnTo>
                    <a:pt x="6758" y="3905"/>
                  </a:lnTo>
                  <a:lnTo>
                    <a:pt x="6758" y="9430"/>
                  </a:lnTo>
                  <a:cubicBezTo>
                    <a:pt x="9042" y="6572"/>
                    <a:pt x="12278" y="6286"/>
                    <a:pt x="16275" y="8763"/>
                  </a:cubicBezTo>
                  <a:cubicBezTo>
                    <a:pt x="17408" y="9388"/>
                    <a:pt x="18436" y="10192"/>
                    <a:pt x="19321" y="1114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0" name="Google Shape;2090;p34"/>
            <p:cNvSpPr/>
            <p:nvPr/>
          </p:nvSpPr>
          <p:spPr>
            <a:xfrm>
              <a:off x="3980286" y="683824"/>
              <a:ext cx="34675" cy="54516"/>
            </a:xfrm>
            <a:custGeom>
              <a:avLst/>
              <a:gdLst/>
              <a:ahLst/>
              <a:cxnLst/>
              <a:rect l="l" t="t" r="r" b="b"/>
              <a:pathLst>
                <a:path w="34675" h="54516" extrusionOk="0">
                  <a:moveTo>
                    <a:pt x="18400" y="45467"/>
                  </a:moveTo>
                  <a:cubicBezTo>
                    <a:pt x="20304" y="46811"/>
                    <a:pt x="22721" y="47231"/>
                    <a:pt x="24967" y="46610"/>
                  </a:cubicBezTo>
                  <a:cubicBezTo>
                    <a:pt x="26918" y="45847"/>
                    <a:pt x="28175" y="43941"/>
                    <a:pt x="28108" y="41848"/>
                  </a:cubicBezTo>
                  <a:lnTo>
                    <a:pt x="34675" y="45658"/>
                  </a:lnTo>
                  <a:cubicBezTo>
                    <a:pt x="34694" y="48006"/>
                    <a:pt x="33847" y="50279"/>
                    <a:pt x="32296" y="52040"/>
                  </a:cubicBezTo>
                  <a:cubicBezTo>
                    <a:pt x="30716" y="53647"/>
                    <a:pt x="28555" y="54541"/>
                    <a:pt x="26300" y="54516"/>
                  </a:cubicBezTo>
                  <a:cubicBezTo>
                    <a:pt x="23501" y="54441"/>
                    <a:pt x="20770" y="53619"/>
                    <a:pt x="18400" y="52135"/>
                  </a:cubicBezTo>
                  <a:cubicBezTo>
                    <a:pt x="12680" y="48793"/>
                    <a:pt x="8054" y="43862"/>
                    <a:pt x="5075" y="37943"/>
                  </a:cubicBezTo>
                  <a:cubicBezTo>
                    <a:pt x="1715" y="31610"/>
                    <a:pt x="-17" y="24539"/>
                    <a:pt x="31" y="17369"/>
                  </a:cubicBezTo>
                  <a:lnTo>
                    <a:pt x="31" y="15940"/>
                  </a:lnTo>
                  <a:cubicBezTo>
                    <a:pt x="-169" y="12060"/>
                    <a:pt x="611" y="8193"/>
                    <a:pt x="2315" y="4700"/>
                  </a:cubicBezTo>
                  <a:cubicBezTo>
                    <a:pt x="3467" y="2168"/>
                    <a:pt x="5836" y="405"/>
                    <a:pt x="8597" y="33"/>
                  </a:cubicBezTo>
                  <a:cubicBezTo>
                    <a:pt x="11966" y="-190"/>
                    <a:pt x="15316" y="715"/>
                    <a:pt x="18114" y="2605"/>
                  </a:cubicBezTo>
                  <a:cubicBezTo>
                    <a:pt x="22864" y="5371"/>
                    <a:pt x="26823" y="9306"/>
                    <a:pt x="29631" y="14035"/>
                  </a:cubicBezTo>
                  <a:cubicBezTo>
                    <a:pt x="32543" y="18605"/>
                    <a:pt x="34219" y="23859"/>
                    <a:pt x="34485" y="29275"/>
                  </a:cubicBezTo>
                  <a:lnTo>
                    <a:pt x="27918" y="25465"/>
                  </a:lnTo>
                  <a:cubicBezTo>
                    <a:pt x="27651" y="22098"/>
                    <a:pt x="26604" y="18839"/>
                    <a:pt x="24872" y="15940"/>
                  </a:cubicBezTo>
                  <a:cubicBezTo>
                    <a:pt x="23207" y="13144"/>
                    <a:pt x="20884" y="10792"/>
                    <a:pt x="18114" y="9082"/>
                  </a:cubicBezTo>
                  <a:cubicBezTo>
                    <a:pt x="14564" y="7113"/>
                    <a:pt x="11804" y="7113"/>
                    <a:pt x="9834" y="9082"/>
                  </a:cubicBezTo>
                  <a:cubicBezTo>
                    <a:pt x="7464" y="12284"/>
                    <a:pt x="6408" y="16270"/>
                    <a:pt x="6883" y="20226"/>
                  </a:cubicBezTo>
                  <a:lnTo>
                    <a:pt x="6883" y="21750"/>
                  </a:lnTo>
                  <a:cubicBezTo>
                    <a:pt x="6798" y="26703"/>
                    <a:pt x="7807" y="31614"/>
                    <a:pt x="9834" y="36133"/>
                  </a:cubicBezTo>
                  <a:cubicBezTo>
                    <a:pt x="11652" y="40058"/>
                    <a:pt x="14650" y="43321"/>
                    <a:pt x="18400" y="45467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1" name="Google Shape;2091;p34"/>
            <p:cNvSpPr/>
            <p:nvPr/>
          </p:nvSpPr>
          <p:spPr>
            <a:xfrm>
              <a:off x="4022575" y="681666"/>
              <a:ext cx="32718" cy="85915"/>
            </a:xfrm>
            <a:custGeom>
              <a:avLst/>
              <a:gdLst/>
              <a:ahLst/>
              <a:cxnLst/>
              <a:rect l="l" t="t" r="r" b="b"/>
              <a:pathLst>
                <a:path w="32718" h="85915" extrusionOk="0">
                  <a:moveTo>
                    <a:pt x="7614" y="29718"/>
                  </a:moveTo>
                  <a:cubicBezTo>
                    <a:pt x="11145" y="26777"/>
                    <a:pt x="16266" y="26777"/>
                    <a:pt x="19797" y="29718"/>
                  </a:cubicBezTo>
                  <a:cubicBezTo>
                    <a:pt x="28411" y="34878"/>
                    <a:pt x="33388" y="44461"/>
                    <a:pt x="32646" y="54483"/>
                  </a:cubicBezTo>
                  <a:lnTo>
                    <a:pt x="32646" y="85916"/>
                  </a:lnTo>
                  <a:lnTo>
                    <a:pt x="25603" y="81820"/>
                  </a:lnTo>
                  <a:lnTo>
                    <a:pt x="25603" y="50387"/>
                  </a:lnTo>
                  <a:cubicBezTo>
                    <a:pt x="25698" y="47343"/>
                    <a:pt x="25003" y="44327"/>
                    <a:pt x="23604" y="41624"/>
                  </a:cubicBezTo>
                  <a:cubicBezTo>
                    <a:pt x="22034" y="39026"/>
                    <a:pt x="19797" y="36890"/>
                    <a:pt x="17132" y="35433"/>
                  </a:cubicBezTo>
                  <a:cubicBezTo>
                    <a:pt x="15352" y="34286"/>
                    <a:pt x="13230" y="33814"/>
                    <a:pt x="11136" y="34100"/>
                  </a:cubicBezTo>
                  <a:cubicBezTo>
                    <a:pt x="9356" y="34510"/>
                    <a:pt x="7852" y="35699"/>
                    <a:pt x="7043" y="37338"/>
                  </a:cubicBezTo>
                  <a:lnTo>
                    <a:pt x="7043" y="71152"/>
                  </a:lnTo>
                  <a:lnTo>
                    <a:pt x="0" y="67056"/>
                  </a:lnTo>
                  <a:lnTo>
                    <a:pt x="0" y="0"/>
                  </a:lnTo>
                  <a:lnTo>
                    <a:pt x="7043" y="4001"/>
                  </a:ln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2" name="Google Shape;2092;p34"/>
            <p:cNvSpPr/>
            <p:nvPr/>
          </p:nvSpPr>
          <p:spPr>
            <a:xfrm>
              <a:off x="4065860" y="766513"/>
              <a:ext cx="8800" cy="10615"/>
            </a:xfrm>
            <a:custGeom>
              <a:avLst/>
              <a:gdLst/>
              <a:ahLst/>
              <a:cxnLst/>
              <a:rect l="l" t="t" r="r" b="b"/>
              <a:pathLst>
                <a:path w="8800" h="10615" extrusionOk="0">
                  <a:moveTo>
                    <a:pt x="21" y="3164"/>
                  </a:moveTo>
                  <a:cubicBezTo>
                    <a:pt x="-103" y="2053"/>
                    <a:pt x="326" y="951"/>
                    <a:pt x="1163" y="212"/>
                  </a:cubicBezTo>
                  <a:cubicBezTo>
                    <a:pt x="1829" y="-265"/>
                    <a:pt x="2971" y="212"/>
                    <a:pt x="4399" y="212"/>
                  </a:cubicBezTo>
                  <a:cubicBezTo>
                    <a:pt x="5741" y="1038"/>
                    <a:pt x="6845" y="2183"/>
                    <a:pt x="7635" y="3545"/>
                  </a:cubicBezTo>
                  <a:cubicBezTo>
                    <a:pt x="8378" y="4818"/>
                    <a:pt x="8768" y="6263"/>
                    <a:pt x="8777" y="7736"/>
                  </a:cubicBezTo>
                  <a:cubicBezTo>
                    <a:pt x="8911" y="8767"/>
                    <a:pt x="8473" y="9788"/>
                    <a:pt x="7635" y="10403"/>
                  </a:cubicBezTo>
                  <a:cubicBezTo>
                    <a:pt x="6874" y="10880"/>
                    <a:pt x="5827" y="10403"/>
                    <a:pt x="4399" y="10403"/>
                  </a:cubicBezTo>
                  <a:cubicBezTo>
                    <a:pt x="3029" y="9659"/>
                    <a:pt x="1906" y="8534"/>
                    <a:pt x="1163" y="7165"/>
                  </a:cubicBezTo>
                  <a:cubicBezTo>
                    <a:pt x="440" y="5955"/>
                    <a:pt x="40" y="4575"/>
                    <a:pt x="21" y="316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3" name="Google Shape;2093;p34"/>
            <p:cNvSpPr/>
            <p:nvPr/>
          </p:nvSpPr>
          <p:spPr>
            <a:xfrm>
              <a:off x="4086317" y="778377"/>
              <a:ext cx="8807" cy="10445"/>
            </a:xfrm>
            <a:custGeom>
              <a:avLst/>
              <a:gdLst/>
              <a:ahLst/>
              <a:cxnLst/>
              <a:rect l="l" t="t" r="r" b="b"/>
              <a:pathLst>
                <a:path w="8807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7"/>
                    <a:pt x="2978" y="254"/>
                    <a:pt x="4405" y="254"/>
                  </a:cubicBezTo>
                  <a:cubicBezTo>
                    <a:pt x="7051" y="1848"/>
                    <a:pt x="8707" y="4687"/>
                    <a:pt x="8784" y="7779"/>
                  </a:cubicBezTo>
                  <a:cubicBezTo>
                    <a:pt x="8917" y="8809"/>
                    <a:pt x="8479" y="9830"/>
                    <a:pt x="7641" y="10446"/>
                  </a:cubicBezTo>
                  <a:cubicBezTo>
                    <a:pt x="6975" y="10446"/>
                    <a:pt x="5833" y="10446"/>
                    <a:pt x="4405" y="10446"/>
                  </a:cubicBezTo>
                  <a:cubicBezTo>
                    <a:pt x="3035" y="9701"/>
                    <a:pt x="1912" y="8576"/>
                    <a:pt x="1169" y="7207"/>
                  </a:cubicBezTo>
                  <a:cubicBezTo>
                    <a:pt x="427" y="5970"/>
                    <a:pt x="27" y="4555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4" name="Google Shape;2094;p34"/>
            <p:cNvSpPr/>
            <p:nvPr/>
          </p:nvSpPr>
          <p:spPr>
            <a:xfrm>
              <a:off x="4106781" y="790188"/>
              <a:ext cx="8804" cy="10445"/>
            </a:xfrm>
            <a:custGeom>
              <a:avLst/>
              <a:gdLst/>
              <a:ahLst/>
              <a:cxnLst/>
              <a:rect l="l" t="t" r="r" b="b"/>
              <a:pathLst>
                <a:path w="8804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8"/>
                    <a:pt x="2978" y="254"/>
                    <a:pt x="4405" y="254"/>
                  </a:cubicBezTo>
                  <a:cubicBezTo>
                    <a:pt x="5795" y="976"/>
                    <a:pt x="6918" y="2107"/>
                    <a:pt x="7641" y="3493"/>
                  </a:cubicBezTo>
                  <a:cubicBezTo>
                    <a:pt x="8374" y="4770"/>
                    <a:pt x="8764" y="6212"/>
                    <a:pt x="8783" y="7683"/>
                  </a:cubicBezTo>
                  <a:cubicBezTo>
                    <a:pt x="8907" y="8741"/>
                    <a:pt x="8479" y="9788"/>
                    <a:pt x="7641" y="10446"/>
                  </a:cubicBezTo>
                  <a:cubicBezTo>
                    <a:pt x="6975" y="10446"/>
                    <a:pt x="5833" y="10446"/>
                    <a:pt x="4405" y="9874"/>
                  </a:cubicBezTo>
                  <a:cubicBezTo>
                    <a:pt x="3035" y="9129"/>
                    <a:pt x="1912" y="8004"/>
                    <a:pt x="1169" y="6636"/>
                  </a:cubicBezTo>
                  <a:cubicBezTo>
                    <a:pt x="522" y="5567"/>
                    <a:pt x="132" y="4359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5" name="Google Shape;2095;p34"/>
            <p:cNvSpPr/>
            <p:nvPr/>
          </p:nvSpPr>
          <p:spPr>
            <a:xfrm>
              <a:off x="6091738" y="1886219"/>
              <a:ext cx="73770" cy="113063"/>
            </a:xfrm>
            <a:custGeom>
              <a:avLst/>
              <a:gdLst/>
              <a:ahLst/>
              <a:cxnLst/>
              <a:rect l="l" t="t" r="r" b="b"/>
              <a:pathLst>
                <a:path w="73770" h="113063" extrusionOk="0">
                  <a:moveTo>
                    <a:pt x="72240" y="104944"/>
                  </a:moveTo>
                  <a:lnTo>
                    <a:pt x="57011" y="78751"/>
                  </a:lnTo>
                  <a:cubicBezTo>
                    <a:pt x="61932" y="73683"/>
                    <a:pt x="64435" y="66739"/>
                    <a:pt x="63864" y="59701"/>
                  </a:cubicBezTo>
                  <a:cubicBezTo>
                    <a:pt x="62646" y="37222"/>
                    <a:pt x="50806" y="16676"/>
                    <a:pt x="31980" y="4360"/>
                  </a:cubicBezTo>
                  <a:cubicBezTo>
                    <a:pt x="14277" y="-5831"/>
                    <a:pt x="0" y="2455"/>
                    <a:pt x="0" y="22839"/>
                  </a:cubicBezTo>
                  <a:cubicBezTo>
                    <a:pt x="1142" y="45585"/>
                    <a:pt x="13201" y="66378"/>
                    <a:pt x="32360" y="78655"/>
                  </a:cubicBezTo>
                  <a:cubicBezTo>
                    <a:pt x="37776" y="82303"/>
                    <a:pt x="44410" y="83675"/>
                    <a:pt x="50825" y="82465"/>
                  </a:cubicBezTo>
                  <a:lnTo>
                    <a:pt x="66148" y="109040"/>
                  </a:lnTo>
                  <a:cubicBezTo>
                    <a:pt x="67957" y="112088"/>
                    <a:pt x="70812" y="113803"/>
                    <a:pt x="72621" y="112755"/>
                  </a:cubicBezTo>
                  <a:cubicBezTo>
                    <a:pt x="74429" y="111707"/>
                    <a:pt x="73953" y="108088"/>
                    <a:pt x="72240" y="104944"/>
                  </a:cubicBezTo>
                  <a:close/>
                  <a:moveTo>
                    <a:pt x="49683" y="70273"/>
                  </a:moveTo>
                  <a:cubicBezTo>
                    <a:pt x="49131" y="70083"/>
                    <a:pt x="48522" y="70083"/>
                    <a:pt x="47970" y="70273"/>
                  </a:cubicBezTo>
                  <a:cubicBezTo>
                    <a:pt x="47532" y="70578"/>
                    <a:pt x="47198" y="71007"/>
                    <a:pt x="47018" y="71512"/>
                  </a:cubicBezTo>
                  <a:cubicBezTo>
                    <a:pt x="42011" y="72845"/>
                    <a:pt x="36682" y="71978"/>
                    <a:pt x="32360" y="69130"/>
                  </a:cubicBezTo>
                  <a:cubicBezTo>
                    <a:pt x="18198" y="59910"/>
                    <a:pt x="9289" y="44480"/>
                    <a:pt x="8376" y="27601"/>
                  </a:cubicBezTo>
                  <a:cubicBezTo>
                    <a:pt x="8376" y="12266"/>
                    <a:pt x="19131" y="6075"/>
                    <a:pt x="32360" y="13790"/>
                  </a:cubicBezTo>
                  <a:cubicBezTo>
                    <a:pt x="46494" y="23020"/>
                    <a:pt x="55374" y="38450"/>
                    <a:pt x="56250" y="55319"/>
                  </a:cubicBezTo>
                  <a:cubicBezTo>
                    <a:pt x="56678" y="61082"/>
                    <a:pt x="54213" y="66682"/>
                    <a:pt x="49683" y="702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6" name="Google Shape;2096;p34"/>
            <p:cNvSpPr/>
            <p:nvPr/>
          </p:nvSpPr>
          <p:spPr>
            <a:xfrm>
              <a:off x="5099606" y="2084115"/>
              <a:ext cx="833576" cy="1053763"/>
            </a:xfrm>
            <a:custGeom>
              <a:avLst/>
              <a:gdLst/>
              <a:ahLst/>
              <a:cxnLst/>
              <a:rect l="l" t="t" r="r" b="b"/>
              <a:pathLst>
                <a:path w="833576" h="1053763" extrusionOk="0">
                  <a:moveTo>
                    <a:pt x="724017" y="325006"/>
                  </a:moveTo>
                  <a:cubicBezTo>
                    <a:pt x="569829" y="64973"/>
                    <a:pt x="310279" y="-65519"/>
                    <a:pt x="144289" y="32684"/>
                  </a:cubicBezTo>
                  <a:lnTo>
                    <a:pt x="0" y="115646"/>
                  </a:lnTo>
                  <a:lnTo>
                    <a:pt x="55298" y="207753"/>
                  </a:lnTo>
                  <a:cubicBezTo>
                    <a:pt x="64198" y="193570"/>
                    <a:pt x="74743" y="180502"/>
                    <a:pt x="86707" y="168796"/>
                  </a:cubicBezTo>
                  <a:cubicBezTo>
                    <a:pt x="226999" y="123266"/>
                    <a:pt x="419829" y="231947"/>
                    <a:pt x="538801" y="432067"/>
                  </a:cubicBezTo>
                  <a:cubicBezTo>
                    <a:pt x="657773" y="632187"/>
                    <a:pt x="660248" y="853929"/>
                    <a:pt x="553173" y="955370"/>
                  </a:cubicBezTo>
                  <a:cubicBezTo>
                    <a:pt x="539087" y="959809"/>
                    <a:pt x="524572" y="962714"/>
                    <a:pt x="509867" y="964038"/>
                  </a:cubicBezTo>
                  <a:lnTo>
                    <a:pt x="563833" y="1053764"/>
                  </a:lnTo>
                  <a:lnTo>
                    <a:pt x="702507" y="974230"/>
                  </a:lnTo>
                  <a:cubicBezTo>
                    <a:pt x="868496" y="875646"/>
                    <a:pt x="878109" y="584943"/>
                    <a:pt x="724017" y="3250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7" name="Google Shape;2097;p34"/>
            <p:cNvSpPr/>
            <p:nvPr/>
          </p:nvSpPr>
          <p:spPr>
            <a:xfrm>
              <a:off x="4974070" y="2163744"/>
              <a:ext cx="820424" cy="1006964"/>
            </a:xfrm>
            <a:custGeom>
              <a:avLst/>
              <a:gdLst/>
              <a:ahLst/>
              <a:cxnLst/>
              <a:rect l="l" t="t" r="r" b="b"/>
              <a:pathLst>
                <a:path w="820424" h="1006964" extrusionOk="0">
                  <a:moveTo>
                    <a:pt x="710783" y="325006"/>
                  </a:moveTo>
                  <a:cubicBezTo>
                    <a:pt x="556595" y="64973"/>
                    <a:pt x="297046" y="-65519"/>
                    <a:pt x="131056" y="32684"/>
                  </a:cubicBezTo>
                  <a:cubicBezTo>
                    <a:pt x="-34934" y="130886"/>
                    <a:pt x="-44547" y="421970"/>
                    <a:pt x="109641" y="682003"/>
                  </a:cubicBezTo>
                  <a:cubicBezTo>
                    <a:pt x="263829" y="942035"/>
                    <a:pt x="523378" y="1072528"/>
                    <a:pt x="689368" y="974230"/>
                  </a:cubicBezTo>
                  <a:cubicBezTo>
                    <a:pt x="855358" y="875932"/>
                    <a:pt x="864971" y="584848"/>
                    <a:pt x="710783" y="325006"/>
                  </a:cubicBezTo>
                  <a:close/>
                  <a:moveTo>
                    <a:pt x="678708" y="875836"/>
                  </a:moveTo>
                  <a:cubicBezTo>
                    <a:pt x="538321" y="921366"/>
                    <a:pt x="345586" y="812686"/>
                    <a:pt x="226614" y="612470"/>
                  </a:cubicBezTo>
                  <a:cubicBezTo>
                    <a:pt x="107642" y="412255"/>
                    <a:pt x="105168" y="190703"/>
                    <a:pt x="212242" y="89262"/>
                  </a:cubicBezTo>
                  <a:cubicBezTo>
                    <a:pt x="352534" y="43733"/>
                    <a:pt x="545364" y="152413"/>
                    <a:pt x="664336" y="352533"/>
                  </a:cubicBezTo>
                  <a:cubicBezTo>
                    <a:pt x="783309" y="552653"/>
                    <a:pt x="785783" y="774300"/>
                    <a:pt x="678708" y="87574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8" name="Google Shape;2098;p34"/>
            <p:cNvSpPr/>
            <p:nvPr/>
          </p:nvSpPr>
          <p:spPr>
            <a:xfrm>
              <a:off x="5034477" y="2242227"/>
              <a:ext cx="618491" cy="852150"/>
            </a:xfrm>
            <a:custGeom>
              <a:avLst/>
              <a:gdLst/>
              <a:ahLst/>
              <a:cxnLst/>
              <a:rect l="l" t="t" r="r" b="b"/>
              <a:pathLst>
                <a:path w="618491" h="852150" extrusionOk="0">
                  <a:moveTo>
                    <a:pt x="166398" y="533892"/>
                  </a:moveTo>
                  <a:cubicBezTo>
                    <a:pt x="47711" y="333866"/>
                    <a:pt x="44951" y="112124"/>
                    <a:pt x="152026" y="10683"/>
                  </a:cubicBezTo>
                  <a:cubicBezTo>
                    <a:pt x="213225" y="-9224"/>
                    <a:pt x="284513" y="301"/>
                    <a:pt x="355230" y="33924"/>
                  </a:cubicBezTo>
                  <a:cubicBezTo>
                    <a:pt x="268428" y="-7414"/>
                    <a:pt x="180960" y="-12844"/>
                    <a:pt x="112146" y="28019"/>
                  </a:cubicBezTo>
                  <a:cubicBezTo>
                    <a:pt x="-29192" y="111934"/>
                    <a:pt x="-38139" y="358250"/>
                    <a:pt x="92159" y="577992"/>
                  </a:cubicBezTo>
                  <a:cubicBezTo>
                    <a:pt x="222457" y="797734"/>
                    <a:pt x="442794" y="907938"/>
                    <a:pt x="584133" y="824023"/>
                  </a:cubicBezTo>
                  <a:cubicBezTo>
                    <a:pt x="596563" y="816432"/>
                    <a:pt x="608089" y="807450"/>
                    <a:pt x="618492" y="797258"/>
                  </a:cubicBezTo>
                  <a:cubicBezTo>
                    <a:pt x="477914" y="842787"/>
                    <a:pt x="284894" y="734107"/>
                    <a:pt x="166398" y="533892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9" name="Google Shape;2099;p34"/>
            <p:cNvSpPr/>
            <p:nvPr/>
          </p:nvSpPr>
          <p:spPr>
            <a:xfrm>
              <a:off x="5108865" y="2242623"/>
              <a:ext cx="621582" cy="807149"/>
            </a:xfrm>
            <a:custGeom>
              <a:avLst/>
              <a:gdLst/>
              <a:ahLst/>
              <a:cxnLst/>
              <a:rect l="l" t="t" r="r" b="b"/>
              <a:pathLst>
                <a:path w="621582" h="807149" extrusionOk="0">
                  <a:moveTo>
                    <a:pt x="529828" y="273559"/>
                  </a:moveTo>
                  <a:cubicBezTo>
                    <a:pt x="411141" y="73534"/>
                    <a:pt x="218026" y="-35242"/>
                    <a:pt x="77734" y="10288"/>
                  </a:cubicBezTo>
                  <a:cubicBezTo>
                    <a:pt x="-29341" y="111729"/>
                    <a:pt x="-26962" y="333376"/>
                    <a:pt x="92106" y="533496"/>
                  </a:cubicBezTo>
                  <a:cubicBezTo>
                    <a:pt x="211173" y="733616"/>
                    <a:pt x="403813" y="842392"/>
                    <a:pt x="544200" y="796862"/>
                  </a:cubicBezTo>
                  <a:cubicBezTo>
                    <a:pt x="650989" y="695421"/>
                    <a:pt x="648229" y="473774"/>
                    <a:pt x="529828" y="273559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0" name="Google Shape;2100;p34"/>
            <p:cNvSpPr/>
            <p:nvPr/>
          </p:nvSpPr>
          <p:spPr>
            <a:xfrm>
              <a:off x="5831808" y="2838412"/>
              <a:ext cx="311135" cy="259746"/>
            </a:xfrm>
            <a:custGeom>
              <a:avLst/>
              <a:gdLst/>
              <a:ahLst/>
              <a:cxnLst/>
              <a:rect l="l" t="t" r="r" b="b"/>
              <a:pathLst>
                <a:path w="311135" h="259746" extrusionOk="0">
                  <a:moveTo>
                    <a:pt x="0" y="0"/>
                  </a:moveTo>
                  <a:lnTo>
                    <a:pt x="311136" y="179546"/>
                  </a:lnTo>
                  <a:lnTo>
                    <a:pt x="311136" y="259747"/>
                  </a:lnTo>
                  <a:lnTo>
                    <a:pt x="0" y="802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1" name="Google Shape;2101;p34"/>
            <p:cNvSpPr/>
            <p:nvPr/>
          </p:nvSpPr>
          <p:spPr>
            <a:xfrm>
              <a:off x="5831808" y="2798312"/>
              <a:ext cx="380520" cy="219646"/>
            </a:xfrm>
            <a:custGeom>
              <a:avLst/>
              <a:gdLst/>
              <a:ahLst/>
              <a:cxnLst/>
              <a:rect l="l" t="t" r="r" b="b"/>
              <a:pathLst>
                <a:path w="380520" h="219646" extrusionOk="0">
                  <a:moveTo>
                    <a:pt x="69384" y="0"/>
                  </a:moveTo>
                  <a:lnTo>
                    <a:pt x="380520" y="179546"/>
                  </a:lnTo>
                  <a:lnTo>
                    <a:pt x="311136" y="219646"/>
                  </a:lnTo>
                  <a:lnTo>
                    <a:pt x="0" y="40100"/>
                  </a:lnTo>
                  <a:lnTo>
                    <a:pt x="69384" y="0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2" name="Google Shape;2102;p34"/>
            <p:cNvSpPr/>
            <p:nvPr/>
          </p:nvSpPr>
          <p:spPr>
            <a:xfrm>
              <a:off x="6056214" y="2910510"/>
              <a:ext cx="696628" cy="514166"/>
            </a:xfrm>
            <a:custGeom>
              <a:avLst/>
              <a:gdLst/>
              <a:ahLst/>
              <a:cxnLst/>
              <a:rect l="l" t="t" r="r" b="b"/>
              <a:pathLst>
                <a:path w="696628" h="514166" extrusionOk="0">
                  <a:moveTo>
                    <a:pt x="20772" y="62109"/>
                  </a:moveTo>
                  <a:cubicBezTo>
                    <a:pt x="50182" y="12389"/>
                    <a:pt x="99770" y="-12567"/>
                    <a:pt x="131464" y="6293"/>
                  </a:cubicBezTo>
                  <a:lnTo>
                    <a:pt x="696629" y="335096"/>
                  </a:lnTo>
                  <a:lnTo>
                    <a:pt x="588983" y="514166"/>
                  </a:lnTo>
                  <a:lnTo>
                    <a:pt x="24865" y="186030"/>
                  </a:lnTo>
                  <a:cubicBezTo>
                    <a:pt x="-6830" y="167170"/>
                    <a:pt x="-8257" y="111640"/>
                    <a:pt x="20772" y="62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3" name="Google Shape;2103;p34"/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rgbClr val="8C50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4" name="Google Shape;2104;p34"/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5" name="Google Shape;2105;p34"/>
            <p:cNvSpPr/>
            <p:nvPr/>
          </p:nvSpPr>
          <p:spPr>
            <a:xfrm>
              <a:off x="3797207" y="2991392"/>
              <a:ext cx="2353338" cy="1403876"/>
            </a:xfrm>
            <a:custGeom>
              <a:avLst/>
              <a:gdLst/>
              <a:ahLst/>
              <a:cxnLst/>
              <a:rect l="l" t="t" r="r" b="b"/>
              <a:pathLst>
                <a:path w="2353338" h="1403876" extrusionOk="0">
                  <a:moveTo>
                    <a:pt x="2300432" y="1399691"/>
                  </a:moveTo>
                  <a:lnTo>
                    <a:pt x="7411" y="30758"/>
                  </a:lnTo>
                  <a:cubicBezTo>
                    <a:pt x="-3629" y="24471"/>
                    <a:pt x="-2106" y="13327"/>
                    <a:pt x="10457" y="5992"/>
                  </a:cubicBezTo>
                  <a:lnTo>
                    <a:pt x="10457" y="5992"/>
                  </a:lnTo>
                  <a:cubicBezTo>
                    <a:pt x="23658" y="-1342"/>
                    <a:pt x="39543" y="-1980"/>
                    <a:pt x="53287" y="4278"/>
                  </a:cubicBezTo>
                  <a:lnTo>
                    <a:pt x="2345927" y="1373211"/>
                  </a:lnTo>
                  <a:cubicBezTo>
                    <a:pt x="2356968" y="1379593"/>
                    <a:pt x="2355445" y="1390642"/>
                    <a:pt x="2342881" y="1397976"/>
                  </a:cubicBezTo>
                  <a:lnTo>
                    <a:pt x="2342881" y="1397976"/>
                  </a:lnTo>
                  <a:cubicBezTo>
                    <a:pt x="2329785" y="1405186"/>
                    <a:pt x="2314062" y="1405825"/>
                    <a:pt x="2300432" y="1399691"/>
                  </a:cubicBez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6" name="Google Shape;2106;p34"/>
            <p:cNvSpPr/>
            <p:nvPr/>
          </p:nvSpPr>
          <p:spPr>
            <a:xfrm>
              <a:off x="2602525" y="4569200"/>
              <a:ext cx="891148" cy="510349"/>
            </a:xfrm>
            <a:custGeom>
              <a:avLst/>
              <a:gdLst/>
              <a:ahLst/>
              <a:cxnLst/>
              <a:rect l="l" t="t" r="r" b="b"/>
              <a:pathLst>
                <a:path w="891148" h="510349" extrusionOk="0">
                  <a:moveTo>
                    <a:pt x="356916" y="510349"/>
                  </a:moveTo>
                  <a:lnTo>
                    <a:pt x="0" y="306038"/>
                  </a:lnTo>
                  <a:lnTo>
                    <a:pt x="534232" y="0"/>
                  </a:lnTo>
                  <a:lnTo>
                    <a:pt x="891149" y="204311"/>
                  </a:lnTo>
                  <a:lnTo>
                    <a:pt x="356916" y="510349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7" name="Google Shape;2107;p34"/>
            <p:cNvSpPr/>
            <p:nvPr/>
          </p:nvSpPr>
          <p:spPr>
            <a:xfrm>
              <a:off x="2671243" y="4325932"/>
              <a:ext cx="591243" cy="341661"/>
            </a:xfrm>
            <a:custGeom>
              <a:avLst/>
              <a:gdLst/>
              <a:ahLst/>
              <a:cxnLst/>
              <a:rect l="l" t="t" r="r" b="b"/>
              <a:pathLst>
                <a:path w="591243" h="341661" extrusionOk="0">
                  <a:moveTo>
                    <a:pt x="295622" y="341662"/>
                  </a:moveTo>
                  <a:lnTo>
                    <a:pt x="0" y="170783"/>
                  </a:lnTo>
                  <a:lnTo>
                    <a:pt x="295622" y="0"/>
                  </a:lnTo>
                  <a:lnTo>
                    <a:pt x="591244" y="170783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8" name="Google Shape;2108;p34"/>
            <p:cNvSpPr/>
            <p:nvPr/>
          </p:nvSpPr>
          <p:spPr>
            <a:xfrm>
              <a:off x="2671243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512445"/>
                  </a:moveTo>
                  <a:lnTo>
                    <a:pt x="0" y="341662"/>
                  </a:lnTo>
                  <a:lnTo>
                    <a:pt x="0" y="0"/>
                  </a:lnTo>
                  <a:lnTo>
                    <a:pt x="295622" y="170879"/>
                  </a:lnTo>
                  <a:lnTo>
                    <a:pt x="295622" y="512445"/>
                  </a:lnTo>
                  <a:close/>
                </a:path>
              </a:pathLst>
            </a:custGeom>
            <a:solidFill>
              <a:srgbClr val="B1B6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9" name="Google Shape;2109;p34"/>
            <p:cNvSpPr/>
            <p:nvPr/>
          </p:nvSpPr>
          <p:spPr>
            <a:xfrm>
              <a:off x="2966865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341662"/>
                  </a:moveTo>
                  <a:lnTo>
                    <a:pt x="0" y="512445"/>
                  </a:lnTo>
                  <a:lnTo>
                    <a:pt x="0" y="170879"/>
                  </a:lnTo>
                  <a:lnTo>
                    <a:pt x="295622" y="0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0" name="Google Shape;2110;p34"/>
            <p:cNvSpPr/>
            <p:nvPr/>
          </p:nvSpPr>
          <p:spPr>
            <a:xfrm>
              <a:off x="3352925" y="4700698"/>
              <a:ext cx="220640" cy="124389"/>
            </a:xfrm>
            <a:custGeom>
              <a:avLst/>
              <a:gdLst/>
              <a:ahLst/>
              <a:cxnLst/>
              <a:rect l="l" t="t" r="r" b="b"/>
              <a:pathLst>
                <a:path w="220640" h="124389" extrusionOk="0">
                  <a:moveTo>
                    <a:pt x="11021" y="30141"/>
                  </a:moveTo>
                  <a:cubicBezTo>
                    <a:pt x="36663" y="37161"/>
                    <a:pt x="64037" y="33732"/>
                    <a:pt x="87163" y="20616"/>
                  </a:cubicBezTo>
                  <a:cubicBezTo>
                    <a:pt x="105532" y="21188"/>
                    <a:pt x="205088" y="-21484"/>
                    <a:pt x="218603" y="14330"/>
                  </a:cubicBezTo>
                  <a:cubicBezTo>
                    <a:pt x="230501" y="45762"/>
                    <a:pt x="187385" y="74813"/>
                    <a:pt x="164352" y="80338"/>
                  </a:cubicBezTo>
                  <a:cubicBezTo>
                    <a:pt x="114003" y="92530"/>
                    <a:pt x="76789" y="117676"/>
                    <a:pt x="56611" y="121867"/>
                  </a:cubicBezTo>
                  <a:cubicBezTo>
                    <a:pt x="41573" y="125105"/>
                    <a:pt x="22062" y="127201"/>
                    <a:pt x="10069" y="115295"/>
                  </a:cubicBezTo>
                  <a:cubicBezTo>
                    <a:pt x="-4112" y="101388"/>
                    <a:pt x="-2875" y="48905"/>
                    <a:pt x="11021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1" name="Google Shape;2111;p34"/>
            <p:cNvSpPr/>
            <p:nvPr/>
          </p:nvSpPr>
          <p:spPr>
            <a:xfrm>
              <a:off x="3356617" y="4721600"/>
              <a:ext cx="217074" cy="103773"/>
            </a:xfrm>
            <a:custGeom>
              <a:avLst/>
              <a:gdLst/>
              <a:ahLst/>
              <a:cxnLst/>
              <a:rect l="l" t="t" r="r" b="b"/>
              <a:pathLst>
                <a:path w="217074" h="103773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850" y="51054"/>
                  </a:cubicBezTo>
                  <a:cubicBezTo>
                    <a:pt x="179886" y="46387"/>
                    <a:pt x="213388" y="25241"/>
                    <a:pt x="216720" y="0"/>
                  </a:cubicBezTo>
                  <a:cubicBezTo>
                    <a:pt x="221193" y="28575"/>
                    <a:pt x="182265" y="54578"/>
                    <a:pt x="160850" y="59722"/>
                  </a:cubicBezTo>
                  <a:cubicBezTo>
                    <a:pt x="110501" y="71914"/>
                    <a:pt x="73287" y="97059"/>
                    <a:pt x="53109" y="101251"/>
                  </a:cubicBezTo>
                  <a:cubicBezTo>
                    <a:pt x="38071" y="104489"/>
                    <a:pt x="18560" y="106584"/>
                    <a:pt x="6567" y="94678"/>
                  </a:cubicBezTo>
                  <a:cubicBezTo>
                    <a:pt x="3439" y="91269"/>
                    <a:pt x="1186" y="87154"/>
                    <a:pt x="0" y="82677"/>
                  </a:cubicBezTo>
                  <a:cubicBezTo>
                    <a:pt x="15148" y="94183"/>
                    <a:pt x="34836" y="97850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2" name="Google Shape;2112;p34"/>
            <p:cNvSpPr/>
            <p:nvPr/>
          </p:nvSpPr>
          <p:spPr>
            <a:xfrm>
              <a:off x="3173533" y="4605067"/>
              <a:ext cx="220687" cy="124551"/>
            </a:xfrm>
            <a:custGeom>
              <a:avLst/>
              <a:gdLst/>
              <a:ahLst/>
              <a:cxnLst/>
              <a:rect l="l" t="t" r="r" b="b"/>
              <a:pathLst>
                <a:path w="220687" h="124551" extrusionOk="0">
                  <a:moveTo>
                    <a:pt x="11098" y="30141"/>
                  </a:moveTo>
                  <a:cubicBezTo>
                    <a:pt x="36743" y="37095"/>
                    <a:pt x="64094" y="33675"/>
                    <a:pt x="87240" y="20616"/>
                  </a:cubicBezTo>
                  <a:cubicBezTo>
                    <a:pt x="105609" y="21188"/>
                    <a:pt x="205070" y="-21484"/>
                    <a:pt x="218680" y="14330"/>
                  </a:cubicBezTo>
                  <a:cubicBezTo>
                    <a:pt x="230482" y="45762"/>
                    <a:pt x="187367" y="74718"/>
                    <a:pt x="164334" y="80338"/>
                  </a:cubicBezTo>
                  <a:cubicBezTo>
                    <a:pt x="114270" y="92816"/>
                    <a:pt x="76865" y="117962"/>
                    <a:pt x="57164" y="122058"/>
                  </a:cubicBezTo>
                  <a:cubicBezTo>
                    <a:pt x="42126" y="125296"/>
                    <a:pt x="22614" y="127296"/>
                    <a:pt x="10622" y="115485"/>
                  </a:cubicBezTo>
                  <a:cubicBezTo>
                    <a:pt x="-4226" y="101388"/>
                    <a:pt x="-2989" y="48810"/>
                    <a:pt x="11098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3" name="Google Shape;2113;p34"/>
            <p:cNvSpPr/>
            <p:nvPr/>
          </p:nvSpPr>
          <p:spPr>
            <a:xfrm>
              <a:off x="3177588" y="4625969"/>
              <a:ext cx="217074" cy="103649"/>
            </a:xfrm>
            <a:custGeom>
              <a:avLst/>
              <a:gdLst/>
              <a:ahLst/>
              <a:cxnLst/>
              <a:rect l="l" t="t" r="r" b="b"/>
              <a:pathLst>
                <a:path w="217074" h="103649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755" y="51054"/>
                  </a:cubicBezTo>
                  <a:cubicBezTo>
                    <a:pt x="179791" y="46387"/>
                    <a:pt x="213388" y="25241"/>
                    <a:pt x="216720" y="0"/>
                  </a:cubicBezTo>
                  <a:cubicBezTo>
                    <a:pt x="221193" y="28575"/>
                    <a:pt x="182265" y="54483"/>
                    <a:pt x="160755" y="59722"/>
                  </a:cubicBezTo>
                  <a:cubicBezTo>
                    <a:pt x="110216" y="71914"/>
                    <a:pt x="72811" y="97060"/>
                    <a:pt x="53109" y="101155"/>
                  </a:cubicBezTo>
                  <a:cubicBezTo>
                    <a:pt x="38071" y="104394"/>
                    <a:pt x="18560" y="106394"/>
                    <a:pt x="6567" y="94583"/>
                  </a:cubicBezTo>
                  <a:cubicBezTo>
                    <a:pt x="3481" y="91145"/>
                    <a:pt x="1233" y="87039"/>
                    <a:pt x="0" y="82582"/>
                  </a:cubicBezTo>
                  <a:cubicBezTo>
                    <a:pt x="15132" y="94116"/>
                    <a:pt x="34821" y="97831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4" name="Google Shape;2114;p34"/>
            <p:cNvSpPr/>
            <p:nvPr/>
          </p:nvSpPr>
          <p:spPr>
            <a:xfrm>
              <a:off x="2766014" y="4132721"/>
              <a:ext cx="711887" cy="612953"/>
            </a:xfrm>
            <a:custGeom>
              <a:avLst/>
              <a:gdLst/>
              <a:ahLst/>
              <a:cxnLst/>
              <a:rect l="l" t="t" r="r" b="b"/>
              <a:pathLst>
                <a:path w="711887" h="612953" extrusionOk="0">
                  <a:moveTo>
                    <a:pt x="139081" y="378472"/>
                  </a:moveTo>
                  <a:cubicBezTo>
                    <a:pt x="216746" y="412572"/>
                    <a:pt x="289937" y="418001"/>
                    <a:pt x="349804" y="385806"/>
                  </a:cubicBezTo>
                  <a:lnTo>
                    <a:pt x="411670" y="350088"/>
                  </a:lnTo>
                  <a:cubicBezTo>
                    <a:pt x="415381" y="430002"/>
                    <a:pt x="418903" y="506774"/>
                    <a:pt x="418903" y="506774"/>
                  </a:cubicBezTo>
                  <a:cubicBezTo>
                    <a:pt x="418903" y="506774"/>
                    <a:pt x="466492" y="542683"/>
                    <a:pt x="503231" y="510679"/>
                  </a:cubicBezTo>
                  <a:cubicBezTo>
                    <a:pt x="503231" y="510679"/>
                    <a:pt x="510940" y="398475"/>
                    <a:pt x="518744" y="288175"/>
                  </a:cubicBezTo>
                  <a:lnTo>
                    <a:pt x="583656" y="250742"/>
                  </a:lnTo>
                  <a:cubicBezTo>
                    <a:pt x="582151" y="256628"/>
                    <a:pt x="581321" y="262667"/>
                    <a:pt x="581181" y="268744"/>
                  </a:cubicBezTo>
                  <a:cubicBezTo>
                    <a:pt x="581657" y="289699"/>
                    <a:pt x="596219" y="601262"/>
                    <a:pt x="596219" y="601262"/>
                  </a:cubicBezTo>
                  <a:cubicBezTo>
                    <a:pt x="596219" y="601262"/>
                    <a:pt x="643808" y="629837"/>
                    <a:pt x="680927" y="597642"/>
                  </a:cubicBezTo>
                  <a:cubicBezTo>
                    <a:pt x="680927" y="597642"/>
                    <a:pt x="705769" y="236645"/>
                    <a:pt x="711479" y="179019"/>
                  </a:cubicBezTo>
                  <a:cubicBezTo>
                    <a:pt x="717951" y="114153"/>
                    <a:pt x="645997" y="82149"/>
                    <a:pt x="600407" y="98818"/>
                  </a:cubicBezTo>
                  <a:cubicBezTo>
                    <a:pt x="589842" y="102628"/>
                    <a:pt x="563764" y="112344"/>
                    <a:pt x="530832" y="124631"/>
                  </a:cubicBezTo>
                  <a:cubicBezTo>
                    <a:pt x="532260" y="106629"/>
                    <a:pt x="533402" y="92532"/>
                    <a:pt x="534258" y="84531"/>
                  </a:cubicBezTo>
                  <a:cubicBezTo>
                    <a:pt x="540635" y="19665"/>
                    <a:pt x="468681" y="-12243"/>
                    <a:pt x="423186" y="4330"/>
                  </a:cubicBezTo>
                  <a:cubicBezTo>
                    <a:pt x="381689" y="19475"/>
                    <a:pt x="101581" y="124631"/>
                    <a:pt x="101581" y="124631"/>
                  </a:cubicBezTo>
                  <a:cubicBezTo>
                    <a:pt x="103236" y="151558"/>
                    <a:pt x="106414" y="178362"/>
                    <a:pt x="111098" y="204927"/>
                  </a:cubicBezTo>
                  <a:lnTo>
                    <a:pt x="407" y="195402"/>
                  </a:lnTo>
                  <a:cubicBezTo>
                    <a:pt x="-5875" y="299700"/>
                    <a:pt x="61511" y="344277"/>
                    <a:pt x="139081" y="378472"/>
                  </a:cubicBezTo>
                  <a:close/>
                  <a:moveTo>
                    <a:pt x="332291" y="199021"/>
                  </a:moveTo>
                  <a:lnTo>
                    <a:pt x="406340" y="156254"/>
                  </a:lnTo>
                  <a:cubicBezTo>
                    <a:pt x="405118" y="161483"/>
                    <a:pt x="404323" y="166798"/>
                    <a:pt x="403960" y="1721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5" name="Google Shape;2115;p34"/>
            <p:cNvSpPr/>
            <p:nvPr/>
          </p:nvSpPr>
          <p:spPr>
            <a:xfrm>
              <a:off x="2706078" y="4012750"/>
              <a:ext cx="153426" cy="268033"/>
            </a:xfrm>
            <a:custGeom>
              <a:avLst/>
              <a:gdLst/>
              <a:ahLst/>
              <a:cxnLst/>
              <a:rect l="l" t="t" r="r" b="b"/>
              <a:pathLst>
                <a:path w="153426" h="268033" extrusionOk="0">
                  <a:moveTo>
                    <a:pt x="0" y="0"/>
                  </a:moveTo>
                  <a:cubicBezTo>
                    <a:pt x="0" y="0"/>
                    <a:pt x="9518" y="137731"/>
                    <a:pt x="27221" y="157544"/>
                  </a:cubicBezTo>
                  <a:cubicBezTo>
                    <a:pt x="44924" y="177355"/>
                    <a:pt x="106313" y="190500"/>
                    <a:pt x="106313" y="190500"/>
                  </a:cubicBezTo>
                  <a:lnTo>
                    <a:pt x="153426" y="268034"/>
                  </a:lnTo>
                  <a:cubicBezTo>
                    <a:pt x="153426" y="268034"/>
                    <a:pt x="110501" y="21717"/>
                    <a:pt x="101174" y="15812"/>
                  </a:cubicBezTo>
                  <a:cubicBezTo>
                    <a:pt x="91846" y="990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6" name="Google Shape;2116;p34"/>
            <p:cNvSpPr/>
            <p:nvPr/>
          </p:nvSpPr>
          <p:spPr>
            <a:xfrm>
              <a:off x="2694181" y="3854621"/>
              <a:ext cx="102411" cy="197244"/>
            </a:xfrm>
            <a:custGeom>
              <a:avLst/>
              <a:gdLst/>
              <a:ahLst/>
              <a:cxnLst/>
              <a:rect l="l" t="t" r="r" b="b"/>
              <a:pathLst>
                <a:path w="102411" h="197244" extrusionOk="0">
                  <a:moveTo>
                    <a:pt x="102411" y="4776"/>
                  </a:moveTo>
                  <a:cubicBezTo>
                    <a:pt x="78681" y="-6244"/>
                    <a:pt x="50468" y="2376"/>
                    <a:pt x="36929" y="24778"/>
                  </a:cubicBezTo>
                  <a:cubicBezTo>
                    <a:pt x="19607" y="53353"/>
                    <a:pt x="1618" y="151842"/>
                    <a:pt x="0" y="168701"/>
                  </a:cubicBezTo>
                  <a:cubicBezTo>
                    <a:pt x="0" y="168701"/>
                    <a:pt x="24270" y="202229"/>
                    <a:pt x="60723" y="19660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7" name="Google Shape;2117;p34"/>
            <p:cNvSpPr/>
            <p:nvPr/>
          </p:nvSpPr>
          <p:spPr>
            <a:xfrm>
              <a:off x="2799755" y="3593223"/>
              <a:ext cx="234442" cy="375527"/>
            </a:xfrm>
            <a:custGeom>
              <a:avLst/>
              <a:gdLst/>
              <a:ahLst/>
              <a:cxnLst/>
              <a:rect l="l" t="t" r="r" b="b"/>
              <a:pathLst>
                <a:path w="234442" h="375527" extrusionOk="0">
                  <a:moveTo>
                    <a:pt x="13397" y="267888"/>
                  </a:moveTo>
                  <a:cubicBezTo>
                    <a:pt x="37192" y="269032"/>
                    <a:pt x="54895" y="275127"/>
                    <a:pt x="57845" y="267888"/>
                  </a:cubicBezTo>
                  <a:cubicBezTo>
                    <a:pt x="60387" y="255592"/>
                    <a:pt x="62198" y="243152"/>
                    <a:pt x="63271" y="230646"/>
                  </a:cubicBezTo>
                  <a:cubicBezTo>
                    <a:pt x="60510" y="223693"/>
                    <a:pt x="58131" y="216263"/>
                    <a:pt x="58131" y="216263"/>
                  </a:cubicBezTo>
                  <a:cubicBezTo>
                    <a:pt x="28245" y="197880"/>
                    <a:pt x="18823" y="165590"/>
                    <a:pt x="14920" y="127966"/>
                  </a:cubicBezTo>
                  <a:cubicBezTo>
                    <a:pt x="8258" y="63673"/>
                    <a:pt x="42903" y="7380"/>
                    <a:pt x="107243" y="617"/>
                  </a:cubicBezTo>
                  <a:cubicBezTo>
                    <a:pt x="167585" y="-5670"/>
                    <a:pt x="211938" y="36812"/>
                    <a:pt x="223931" y="95200"/>
                  </a:cubicBezTo>
                  <a:cubicBezTo>
                    <a:pt x="230307" y="123775"/>
                    <a:pt x="242966" y="178449"/>
                    <a:pt x="225834" y="225788"/>
                  </a:cubicBezTo>
                  <a:cubicBezTo>
                    <a:pt x="216316" y="252268"/>
                    <a:pt x="203848" y="273413"/>
                    <a:pt x="191475" y="277413"/>
                  </a:cubicBezTo>
                  <a:cubicBezTo>
                    <a:pt x="179496" y="277042"/>
                    <a:pt x="167548" y="275994"/>
                    <a:pt x="155688" y="274270"/>
                  </a:cubicBezTo>
                  <a:lnTo>
                    <a:pt x="155688" y="274270"/>
                  </a:lnTo>
                  <a:cubicBezTo>
                    <a:pt x="155688" y="274270"/>
                    <a:pt x="152452" y="292177"/>
                    <a:pt x="150263" y="303607"/>
                  </a:cubicBezTo>
                  <a:cubicBezTo>
                    <a:pt x="148074" y="315037"/>
                    <a:pt x="148930" y="321133"/>
                    <a:pt x="171678" y="335230"/>
                  </a:cubicBezTo>
                  <a:cubicBezTo>
                    <a:pt x="194425" y="349327"/>
                    <a:pt x="137224" y="378188"/>
                    <a:pt x="99819" y="375330"/>
                  </a:cubicBezTo>
                  <a:cubicBezTo>
                    <a:pt x="62414" y="372473"/>
                    <a:pt x="20250" y="349899"/>
                    <a:pt x="8734" y="325705"/>
                  </a:cubicBezTo>
                  <a:cubicBezTo>
                    <a:pt x="-4115" y="298940"/>
                    <a:pt x="-2973" y="267126"/>
                    <a:pt x="13397" y="26788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118" name="Google Shape;2118;p34"/>
            <p:cNvGrpSpPr/>
            <p:nvPr/>
          </p:nvGrpSpPr>
          <p:grpSpPr>
            <a:xfrm>
              <a:off x="2941619" y="3895613"/>
              <a:ext cx="483621" cy="510995"/>
              <a:chOff x="4345944" y="4626313"/>
              <a:chExt cx="483621" cy="510995"/>
            </a:xfrm>
          </p:grpSpPr>
          <p:grpSp>
            <p:nvGrpSpPr>
              <p:cNvPr id="2119" name="Google Shape;2119;p34"/>
              <p:cNvGrpSpPr/>
              <p:nvPr/>
            </p:nvGrpSpPr>
            <p:grpSpPr>
              <a:xfrm>
                <a:off x="4345944" y="4852987"/>
                <a:ext cx="474200" cy="284321"/>
                <a:chOff x="4345944" y="4852987"/>
                <a:chExt cx="474200" cy="284321"/>
              </a:xfrm>
            </p:grpSpPr>
            <p:sp>
              <p:nvSpPr>
                <p:cNvPr id="2120" name="Google Shape;2120;p34"/>
                <p:cNvSpPr/>
                <p:nvPr/>
              </p:nvSpPr>
              <p:spPr>
                <a:xfrm>
                  <a:off x="4346061" y="4969668"/>
                  <a:ext cx="474083" cy="1676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083" h="167618" extrusionOk="0">
                      <a:moveTo>
                        <a:pt x="474082" y="43529"/>
                      </a:moveTo>
                      <a:lnTo>
                        <a:pt x="474082" y="43529"/>
                      </a:lnTo>
                      <a:cubicBezTo>
                        <a:pt x="474178" y="50425"/>
                        <a:pt x="470537" y="56845"/>
                        <a:pt x="464564" y="60293"/>
                      </a:cubicBezTo>
                      <a:lnTo>
                        <a:pt x="283155" y="165068"/>
                      </a:lnTo>
                      <a:cubicBezTo>
                        <a:pt x="277266" y="168469"/>
                        <a:pt x="270009" y="168469"/>
                        <a:pt x="264120" y="165068"/>
                      </a:cubicBezTo>
                      <a:lnTo>
                        <a:pt x="9520" y="18193"/>
                      </a:lnTo>
                      <a:cubicBezTo>
                        <a:pt x="3547" y="14745"/>
                        <a:pt x="-94" y="8334"/>
                        <a:pt x="2" y="1429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1" name="Google Shape;2121;p34"/>
                <p:cNvSpPr/>
                <p:nvPr/>
              </p:nvSpPr>
              <p:spPr>
                <a:xfrm>
                  <a:off x="4619603" y="5013483"/>
                  <a:ext cx="200539" cy="1238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539" h="123825" extrusionOk="0">
                      <a:moveTo>
                        <a:pt x="190926" y="16478"/>
                      </a:moveTo>
                      <a:lnTo>
                        <a:pt x="9518" y="121253"/>
                      </a:lnTo>
                      <a:cubicBezTo>
                        <a:pt x="6626" y="122930"/>
                        <a:pt x="3344" y="123815"/>
                        <a:pt x="0" y="123825"/>
                      </a:cubicBezTo>
                      <a:lnTo>
                        <a:pt x="0" y="0"/>
                      </a:lnTo>
                      <a:lnTo>
                        <a:pt x="200539" y="0"/>
                      </a:lnTo>
                      <a:cubicBezTo>
                        <a:pt x="200513" y="6820"/>
                        <a:pt x="196846" y="13106"/>
                        <a:pt x="190926" y="16478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2" name="Google Shape;2122;p34"/>
                <p:cNvSpPr/>
                <p:nvPr/>
              </p:nvSpPr>
              <p:spPr>
                <a:xfrm>
                  <a:off x="4345944" y="4852987"/>
                  <a:ext cx="474198" cy="2740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198" h="274003" extrusionOk="0">
                      <a:moveTo>
                        <a:pt x="280322" y="272224"/>
                      </a:moveTo>
                      <a:cubicBezTo>
                        <a:pt x="276096" y="274596"/>
                        <a:pt x="270938" y="274596"/>
                        <a:pt x="266712" y="272224"/>
                      </a:cubicBezTo>
                      <a:lnTo>
                        <a:pt x="2498" y="119824"/>
                      </a:lnTo>
                      <a:cubicBezTo>
                        <a:pt x="-833" y="117824"/>
                        <a:pt x="-833" y="114681"/>
                        <a:pt x="2498" y="112776"/>
                      </a:cubicBezTo>
                      <a:lnTo>
                        <a:pt x="197137" y="0"/>
                      </a:lnTo>
                      <a:lnTo>
                        <a:pt x="474199" y="16021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2123" name="Google Shape;2123;p34"/>
                <p:cNvGrpSpPr/>
                <p:nvPr/>
              </p:nvGrpSpPr>
              <p:grpSpPr>
                <a:xfrm>
                  <a:off x="4457040" y="4985575"/>
                  <a:ext cx="133724" cy="77247"/>
                  <a:chOff x="4457040" y="4985575"/>
                  <a:chExt cx="133724" cy="77247"/>
                </a:xfrm>
              </p:grpSpPr>
              <p:sp>
                <p:nvSpPr>
                  <p:cNvPr id="2124" name="Google Shape;2124;p34"/>
                  <p:cNvSpPr/>
                  <p:nvPr/>
                </p:nvSpPr>
                <p:spPr>
                  <a:xfrm>
                    <a:off x="4457040" y="4985575"/>
                    <a:ext cx="133724" cy="7724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724" h="77247" extrusionOk="0">
                        <a:moveTo>
                          <a:pt x="0" y="27622"/>
                        </a:moveTo>
                        <a:lnTo>
                          <a:pt x="1332" y="28384"/>
                        </a:lnTo>
                        <a:lnTo>
                          <a:pt x="85945" y="77248"/>
                        </a:lnTo>
                        <a:lnTo>
                          <a:pt x="132487" y="50387"/>
                        </a:lnTo>
                        <a:lnTo>
                          <a:pt x="133725" y="49625"/>
                        </a:lnTo>
                        <a:lnTo>
                          <a:pt x="47779" y="0"/>
                        </a:lnTo>
                        <a:lnTo>
                          <a:pt x="0" y="27622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25" name="Google Shape;2125;p34"/>
                  <p:cNvSpPr/>
                  <p:nvPr/>
                </p:nvSpPr>
                <p:spPr>
                  <a:xfrm>
                    <a:off x="4458372" y="4987099"/>
                    <a:ext cx="131154" cy="757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1154" h="75723" extrusionOk="0">
                        <a:moveTo>
                          <a:pt x="0" y="26861"/>
                        </a:moveTo>
                        <a:lnTo>
                          <a:pt x="84613" y="75724"/>
                        </a:lnTo>
                        <a:lnTo>
                          <a:pt x="131155" y="48863"/>
                        </a:lnTo>
                        <a:lnTo>
                          <a:pt x="46447" y="0"/>
                        </a:lnTo>
                        <a:lnTo>
                          <a:pt x="0" y="2686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126" name="Google Shape;2126;p34"/>
                <p:cNvSpPr/>
                <p:nvPr/>
              </p:nvSpPr>
              <p:spPr>
                <a:xfrm>
                  <a:off x="4747605" y="5011693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7" name="Google Shape;2127;p34"/>
                <p:cNvSpPr/>
                <p:nvPr/>
              </p:nvSpPr>
              <p:spPr>
                <a:xfrm>
                  <a:off x="4730414" y="5001691"/>
                  <a:ext cx="2930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3" h="16916" extrusionOk="0">
                      <a:moveTo>
                        <a:pt x="642" y="9411"/>
                      </a:moveTo>
                      <a:lnTo>
                        <a:pt x="12825" y="16459"/>
                      </a:lnTo>
                      <a:cubicBezTo>
                        <a:pt x="14054" y="17069"/>
                        <a:pt x="15499" y="17069"/>
                        <a:pt x="16727" y="16459"/>
                      </a:cubicBezTo>
                      <a:lnTo>
                        <a:pt x="28339" y="9696"/>
                      </a:lnTo>
                      <a:cubicBezTo>
                        <a:pt x="29576" y="9030"/>
                        <a:pt x="29672" y="8077"/>
                        <a:pt x="28339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124"/>
                      </a:lnTo>
                      <a:cubicBezTo>
                        <a:pt x="-214" y="7791"/>
                        <a:pt x="-214" y="8458"/>
                        <a:pt x="642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8" name="Google Shape;2128;p34"/>
                <p:cNvSpPr/>
                <p:nvPr/>
              </p:nvSpPr>
              <p:spPr>
                <a:xfrm>
                  <a:off x="4713055" y="499169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792"/>
                      </a:lnTo>
                      <a:cubicBezTo>
                        <a:pt x="29613" y="9125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935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9" name="Google Shape;2129;p34"/>
                <p:cNvSpPr/>
                <p:nvPr/>
              </p:nvSpPr>
              <p:spPr>
                <a:xfrm>
                  <a:off x="4695787" y="4981117"/>
                  <a:ext cx="2934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487" extrusionOk="0">
                      <a:moveTo>
                        <a:pt x="720" y="9982"/>
                      </a:moveTo>
                      <a:lnTo>
                        <a:pt x="12903" y="17031"/>
                      </a:lnTo>
                      <a:cubicBezTo>
                        <a:pt x="14131" y="17640"/>
                        <a:pt x="15576" y="17640"/>
                        <a:pt x="16805" y="17031"/>
                      </a:cubicBezTo>
                      <a:lnTo>
                        <a:pt x="28417" y="10363"/>
                      </a:lnTo>
                      <a:cubicBezTo>
                        <a:pt x="29559" y="9696"/>
                        <a:pt x="29749" y="8649"/>
                        <a:pt x="28417" y="8077"/>
                      </a:cubicBezTo>
                      <a:lnTo>
                        <a:pt x="16519" y="457"/>
                      </a:lnTo>
                      <a:cubicBezTo>
                        <a:pt x="15291" y="-152"/>
                        <a:pt x="13846" y="-152"/>
                        <a:pt x="12617" y="457"/>
                      </a:cubicBezTo>
                      <a:lnTo>
                        <a:pt x="1005" y="7125"/>
                      </a:lnTo>
                      <a:cubicBezTo>
                        <a:pt x="-232" y="8363"/>
                        <a:pt x="-327" y="9411"/>
                        <a:pt x="720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0" name="Google Shape;2130;p34"/>
                <p:cNvSpPr/>
                <p:nvPr/>
              </p:nvSpPr>
              <p:spPr>
                <a:xfrm>
                  <a:off x="4678497" y="4971592"/>
                  <a:ext cx="29372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2" h="17487" extrusionOk="0">
                      <a:moveTo>
                        <a:pt x="688" y="9982"/>
                      </a:moveTo>
                      <a:lnTo>
                        <a:pt x="12871" y="17031"/>
                      </a:lnTo>
                      <a:cubicBezTo>
                        <a:pt x="14099" y="17640"/>
                        <a:pt x="15544" y="17640"/>
                        <a:pt x="16773" y="17031"/>
                      </a:cubicBezTo>
                      <a:lnTo>
                        <a:pt x="28480" y="10268"/>
                      </a:lnTo>
                      <a:cubicBezTo>
                        <a:pt x="29622" y="9601"/>
                        <a:pt x="29717" y="8553"/>
                        <a:pt x="28480" y="7982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5"/>
                        <a:pt x="688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1" name="Google Shape;2131;p34"/>
                <p:cNvSpPr/>
                <p:nvPr/>
              </p:nvSpPr>
              <p:spPr>
                <a:xfrm>
                  <a:off x="4661184" y="4961591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5"/>
                      </a:lnTo>
                      <a:cubicBezTo>
                        <a:pt x="14152" y="17164"/>
                        <a:pt x="15568" y="17164"/>
                        <a:pt x="16764" y="16555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4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2" name="Google Shape;2132;p34"/>
                <p:cNvSpPr/>
                <p:nvPr/>
              </p:nvSpPr>
              <p:spPr>
                <a:xfrm>
                  <a:off x="4643896" y="4951685"/>
                  <a:ext cx="2927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70" h="17011" extrusionOk="0">
                      <a:moveTo>
                        <a:pt x="644" y="9411"/>
                      </a:moveTo>
                      <a:lnTo>
                        <a:pt x="12827" y="16554"/>
                      </a:lnTo>
                      <a:cubicBezTo>
                        <a:pt x="14056" y="17164"/>
                        <a:pt x="15501" y="17164"/>
                        <a:pt x="16729" y="16554"/>
                      </a:cubicBezTo>
                      <a:lnTo>
                        <a:pt x="28341" y="9792"/>
                      </a:lnTo>
                      <a:cubicBezTo>
                        <a:pt x="29483" y="9125"/>
                        <a:pt x="29674" y="8172"/>
                        <a:pt x="28341" y="7601"/>
                      </a:cubicBezTo>
                      <a:lnTo>
                        <a:pt x="16158" y="457"/>
                      </a:lnTo>
                      <a:cubicBezTo>
                        <a:pt x="14930" y="-152"/>
                        <a:pt x="13485" y="-152"/>
                        <a:pt x="12256" y="457"/>
                      </a:cubicBezTo>
                      <a:lnTo>
                        <a:pt x="644" y="7220"/>
                      </a:lnTo>
                      <a:cubicBezTo>
                        <a:pt x="-117" y="7887"/>
                        <a:pt x="-307" y="8839"/>
                        <a:pt x="644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3" name="Google Shape;2133;p34"/>
                <p:cNvSpPr/>
                <p:nvPr/>
              </p:nvSpPr>
              <p:spPr>
                <a:xfrm>
                  <a:off x="4626634" y="494177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4" name="Google Shape;2134;p34"/>
                <p:cNvSpPr/>
                <p:nvPr/>
              </p:nvSpPr>
              <p:spPr>
                <a:xfrm>
                  <a:off x="4609300" y="4931587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968" y="16650"/>
                      </a:lnTo>
                      <a:cubicBezTo>
                        <a:pt x="14197" y="17259"/>
                        <a:pt x="15642" y="17259"/>
                        <a:pt x="16870" y="16650"/>
                      </a:cubicBezTo>
                      <a:lnTo>
                        <a:pt x="28482" y="9887"/>
                      </a:lnTo>
                      <a:cubicBezTo>
                        <a:pt x="29624" y="9220"/>
                        <a:pt x="29719" y="8268"/>
                        <a:pt x="28482" y="7696"/>
                      </a:cubicBezTo>
                      <a:lnTo>
                        <a:pt x="16204" y="457"/>
                      </a:lnTo>
                      <a:cubicBezTo>
                        <a:pt x="14975" y="-152"/>
                        <a:pt x="13530" y="-152"/>
                        <a:pt x="12302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5" name="Google Shape;2135;p34"/>
                <p:cNvSpPr/>
                <p:nvPr/>
              </p:nvSpPr>
              <p:spPr>
                <a:xfrm>
                  <a:off x="4592048" y="4921776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6" name="Google Shape;2136;p34"/>
                <p:cNvSpPr/>
                <p:nvPr/>
              </p:nvSpPr>
              <p:spPr>
                <a:xfrm>
                  <a:off x="4574762" y="491177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7" name="Google Shape;2137;p34"/>
                <p:cNvSpPr/>
                <p:nvPr/>
              </p:nvSpPr>
              <p:spPr>
                <a:xfrm>
                  <a:off x="4557452" y="4901679"/>
                  <a:ext cx="29387" cy="169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83" extrusionOk="0">
                      <a:moveTo>
                        <a:pt x="761" y="9506"/>
                      </a:moveTo>
                      <a:lnTo>
                        <a:pt x="12944" y="16554"/>
                      </a:lnTo>
                      <a:cubicBezTo>
                        <a:pt x="14182" y="17126"/>
                        <a:pt x="15608" y="17126"/>
                        <a:pt x="16846" y="16554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220"/>
                      </a:lnTo>
                      <a:cubicBezTo>
                        <a:pt x="-190" y="7982"/>
                        <a:pt x="-286" y="8934"/>
                        <a:pt x="761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8" name="Google Shape;2138;p34"/>
                <p:cNvSpPr/>
                <p:nvPr/>
              </p:nvSpPr>
              <p:spPr>
                <a:xfrm>
                  <a:off x="4540118" y="4891677"/>
                  <a:ext cx="2945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58" h="17011" extrusionOk="0">
                      <a:moveTo>
                        <a:pt x="774" y="9506"/>
                      </a:moveTo>
                      <a:lnTo>
                        <a:pt x="12956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566" y="9792"/>
                      </a:lnTo>
                      <a:cubicBezTo>
                        <a:pt x="29708" y="9125"/>
                        <a:pt x="29803" y="8077"/>
                        <a:pt x="28566" y="7506"/>
                      </a:cubicBezTo>
                      <a:lnTo>
                        <a:pt x="16383" y="457"/>
                      </a:lnTo>
                      <a:cubicBezTo>
                        <a:pt x="15154" y="-152"/>
                        <a:pt x="13709" y="-152"/>
                        <a:pt x="12481" y="457"/>
                      </a:cubicBezTo>
                      <a:lnTo>
                        <a:pt x="869" y="7220"/>
                      </a:lnTo>
                      <a:cubicBezTo>
                        <a:pt x="-273" y="7982"/>
                        <a:pt x="-273" y="8935"/>
                        <a:pt x="77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9" name="Google Shape;2139;p34"/>
                <p:cNvSpPr/>
                <p:nvPr/>
              </p:nvSpPr>
              <p:spPr>
                <a:xfrm>
                  <a:off x="4514573" y="4876818"/>
                  <a:ext cx="37680" cy="218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809" extrusionOk="0">
                      <a:moveTo>
                        <a:pt x="716" y="9506"/>
                      </a:moveTo>
                      <a:lnTo>
                        <a:pt x="21274" y="21317"/>
                      </a:lnTo>
                      <a:cubicBezTo>
                        <a:pt x="22457" y="21974"/>
                        <a:pt x="23898" y="21974"/>
                        <a:pt x="25081" y="21317"/>
                      </a:cubicBezTo>
                      <a:lnTo>
                        <a:pt x="36788" y="14554"/>
                      </a:lnTo>
                      <a:cubicBezTo>
                        <a:pt x="37930" y="13887"/>
                        <a:pt x="38025" y="12935"/>
                        <a:pt x="36788" y="12363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9506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0" name="Google Shape;2140;p34"/>
                <p:cNvSpPr/>
                <p:nvPr/>
              </p:nvSpPr>
              <p:spPr>
                <a:xfrm>
                  <a:off x="4705251" y="500654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7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1" name="Google Shape;2141;p34"/>
                <p:cNvSpPr/>
                <p:nvPr/>
              </p:nvSpPr>
              <p:spPr>
                <a:xfrm>
                  <a:off x="4687929" y="4996548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2" name="Google Shape;2142;p34"/>
                <p:cNvSpPr/>
                <p:nvPr/>
              </p:nvSpPr>
              <p:spPr>
                <a:xfrm>
                  <a:off x="4670606" y="498654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3" name="Google Shape;2143;p34"/>
                <p:cNvSpPr/>
                <p:nvPr/>
              </p:nvSpPr>
              <p:spPr>
                <a:xfrm>
                  <a:off x="4653308" y="4976545"/>
                  <a:ext cx="29434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34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542" y="9696"/>
                      </a:lnTo>
                      <a:cubicBezTo>
                        <a:pt x="29684" y="9030"/>
                        <a:pt x="29779" y="8077"/>
                        <a:pt x="28542" y="7506"/>
                      </a:cubicBezTo>
                      <a:lnTo>
                        <a:pt x="16264" y="457"/>
                      </a:lnTo>
                      <a:cubicBezTo>
                        <a:pt x="15068" y="-152"/>
                        <a:pt x="13652" y="-152"/>
                        <a:pt x="12457" y="457"/>
                      </a:cubicBezTo>
                      <a:lnTo>
                        <a:pt x="750" y="7220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4" name="Google Shape;2144;p34"/>
                <p:cNvSpPr/>
                <p:nvPr/>
              </p:nvSpPr>
              <p:spPr>
                <a:xfrm>
                  <a:off x="4636115" y="4966449"/>
                  <a:ext cx="29341" cy="17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47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16" y="17212"/>
                        <a:pt x="15583" y="17212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5" name="Google Shape;2145;p34"/>
                <p:cNvSpPr/>
                <p:nvPr/>
              </p:nvSpPr>
              <p:spPr>
                <a:xfrm>
                  <a:off x="4618793" y="4956352"/>
                  <a:ext cx="29341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106" extrusionOk="0">
                      <a:moveTo>
                        <a:pt x="716" y="9601"/>
                      </a:moveTo>
                      <a:lnTo>
                        <a:pt x="12898" y="16650"/>
                      </a:lnTo>
                      <a:cubicBezTo>
                        <a:pt x="14127" y="17259"/>
                        <a:pt x="15572" y="17259"/>
                        <a:pt x="16801" y="16650"/>
                      </a:cubicBezTo>
                      <a:lnTo>
                        <a:pt x="28412" y="9887"/>
                      </a:lnTo>
                      <a:cubicBezTo>
                        <a:pt x="29554" y="9220"/>
                        <a:pt x="29745" y="8268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8077"/>
                        <a:pt x="-331" y="9030"/>
                        <a:pt x="716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6" name="Google Shape;2146;p34"/>
                <p:cNvSpPr/>
                <p:nvPr/>
              </p:nvSpPr>
              <p:spPr>
                <a:xfrm>
                  <a:off x="4601470" y="4946446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7" name="Google Shape;2147;p34"/>
                <p:cNvSpPr/>
                <p:nvPr/>
              </p:nvSpPr>
              <p:spPr>
                <a:xfrm>
                  <a:off x="4584137" y="4936445"/>
                  <a:ext cx="2929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7011" extrusionOk="0">
                      <a:moveTo>
                        <a:pt x="726" y="9506"/>
                      </a:moveTo>
                      <a:lnTo>
                        <a:pt x="12814" y="16554"/>
                      </a:lnTo>
                      <a:cubicBezTo>
                        <a:pt x="14043" y="17164"/>
                        <a:pt x="15487" y="17164"/>
                        <a:pt x="16716" y="16554"/>
                      </a:cubicBezTo>
                      <a:lnTo>
                        <a:pt x="28328" y="9792"/>
                      </a:lnTo>
                      <a:cubicBezTo>
                        <a:pt x="29565" y="9125"/>
                        <a:pt x="29660" y="8077"/>
                        <a:pt x="28328" y="7506"/>
                      </a:cubicBezTo>
                      <a:lnTo>
                        <a:pt x="16145" y="457"/>
                      </a:lnTo>
                      <a:cubicBezTo>
                        <a:pt x="14916" y="-152"/>
                        <a:pt x="13471" y="-152"/>
                        <a:pt x="12243" y="457"/>
                      </a:cubicBezTo>
                      <a:lnTo>
                        <a:pt x="631" y="7220"/>
                      </a:lnTo>
                      <a:cubicBezTo>
                        <a:pt x="-130" y="7982"/>
                        <a:pt x="-321" y="8935"/>
                        <a:pt x="72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8" name="Google Shape;2148;p34"/>
                <p:cNvSpPr/>
                <p:nvPr/>
              </p:nvSpPr>
              <p:spPr>
                <a:xfrm>
                  <a:off x="4566835" y="4926444"/>
                  <a:ext cx="2939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90" h="17011" extrusionOk="0">
                      <a:moveTo>
                        <a:pt x="706" y="9506"/>
                      </a:moveTo>
                      <a:lnTo>
                        <a:pt x="12888" y="16554"/>
                      </a:lnTo>
                      <a:cubicBezTo>
                        <a:pt x="14117" y="17164"/>
                        <a:pt x="15562" y="17164"/>
                        <a:pt x="16791" y="16554"/>
                      </a:cubicBezTo>
                      <a:lnTo>
                        <a:pt x="28498" y="9791"/>
                      </a:lnTo>
                      <a:cubicBezTo>
                        <a:pt x="29640" y="9125"/>
                        <a:pt x="29735" y="8077"/>
                        <a:pt x="28498" y="7506"/>
                      </a:cubicBezTo>
                      <a:lnTo>
                        <a:pt x="16315" y="457"/>
                      </a:lnTo>
                      <a:cubicBezTo>
                        <a:pt x="15086" y="-152"/>
                        <a:pt x="13641" y="-152"/>
                        <a:pt x="12413" y="457"/>
                      </a:cubicBezTo>
                      <a:lnTo>
                        <a:pt x="801" y="7220"/>
                      </a:lnTo>
                      <a:cubicBezTo>
                        <a:pt x="-151" y="7982"/>
                        <a:pt x="-341" y="8934"/>
                        <a:pt x="70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9" name="Google Shape;2149;p34"/>
                <p:cNvSpPr/>
                <p:nvPr/>
              </p:nvSpPr>
              <p:spPr>
                <a:xfrm>
                  <a:off x="4549576" y="4916443"/>
                  <a:ext cx="2932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26" h="17011" extrusionOk="0">
                      <a:moveTo>
                        <a:pt x="642" y="9506"/>
                      </a:moveTo>
                      <a:lnTo>
                        <a:pt x="12825" y="16554"/>
                      </a:lnTo>
                      <a:cubicBezTo>
                        <a:pt x="14054" y="17164"/>
                        <a:pt x="15499" y="17164"/>
                        <a:pt x="16727" y="16554"/>
                      </a:cubicBezTo>
                      <a:lnTo>
                        <a:pt x="28434" y="9792"/>
                      </a:lnTo>
                      <a:cubicBezTo>
                        <a:pt x="29576" y="9125"/>
                        <a:pt x="29672" y="8077"/>
                        <a:pt x="28434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220"/>
                      </a:lnTo>
                      <a:cubicBezTo>
                        <a:pt x="-214" y="7982"/>
                        <a:pt x="-214" y="8935"/>
                        <a:pt x="642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0" name="Google Shape;2150;p34"/>
                <p:cNvSpPr/>
                <p:nvPr/>
              </p:nvSpPr>
              <p:spPr>
                <a:xfrm>
                  <a:off x="4532218" y="4906536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8363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1" name="Google Shape;2151;p34"/>
                <p:cNvSpPr/>
                <p:nvPr/>
              </p:nvSpPr>
              <p:spPr>
                <a:xfrm>
                  <a:off x="4514896" y="489653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2" name="Google Shape;2152;p34"/>
                <p:cNvSpPr/>
                <p:nvPr/>
              </p:nvSpPr>
              <p:spPr>
                <a:xfrm>
                  <a:off x="4722536" y="5016484"/>
                  <a:ext cx="37680" cy="2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745" extrusionOk="0">
                      <a:moveTo>
                        <a:pt x="716" y="9477"/>
                      </a:moveTo>
                      <a:lnTo>
                        <a:pt x="21274" y="21288"/>
                      </a:lnTo>
                      <a:cubicBezTo>
                        <a:pt x="22503" y="21898"/>
                        <a:pt x="23948" y="21898"/>
                        <a:pt x="25176" y="21288"/>
                      </a:cubicBezTo>
                      <a:lnTo>
                        <a:pt x="36788" y="14526"/>
                      </a:lnTo>
                      <a:cubicBezTo>
                        <a:pt x="37930" y="13859"/>
                        <a:pt x="38025" y="12811"/>
                        <a:pt x="36788" y="12240"/>
                      </a:cubicBezTo>
                      <a:lnTo>
                        <a:pt x="16230" y="429"/>
                      </a:lnTo>
                      <a:cubicBezTo>
                        <a:pt x="14991" y="-143"/>
                        <a:pt x="13566" y="-143"/>
                        <a:pt x="12327" y="429"/>
                      </a:cubicBezTo>
                      <a:lnTo>
                        <a:pt x="716" y="7192"/>
                      </a:lnTo>
                      <a:cubicBezTo>
                        <a:pt x="-141" y="7858"/>
                        <a:pt x="-331" y="8906"/>
                        <a:pt x="716" y="947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3" name="Google Shape;2153;p34"/>
                <p:cNvSpPr/>
                <p:nvPr/>
              </p:nvSpPr>
              <p:spPr>
                <a:xfrm>
                  <a:off x="4481005" y="4886460"/>
                  <a:ext cx="46109" cy="241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109" h="24112" extrusionOk="0">
                      <a:moveTo>
                        <a:pt x="33141" y="436"/>
                      </a:moveTo>
                      <a:lnTo>
                        <a:pt x="45324" y="7484"/>
                      </a:lnTo>
                      <a:cubicBezTo>
                        <a:pt x="46371" y="8056"/>
                        <a:pt x="46371" y="9008"/>
                        <a:pt x="45324" y="9580"/>
                      </a:cubicBezTo>
                      <a:lnTo>
                        <a:pt x="33046" y="16723"/>
                      </a:lnTo>
                      <a:cubicBezTo>
                        <a:pt x="31910" y="17305"/>
                        <a:pt x="30566" y="17305"/>
                        <a:pt x="29429" y="16723"/>
                      </a:cubicBezTo>
                      <a:lnTo>
                        <a:pt x="28478" y="16152"/>
                      </a:lnTo>
                      <a:cubicBezTo>
                        <a:pt x="27408" y="15581"/>
                        <a:pt x="26121" y="15581"/>
                        <a:pt x="25051" y="16152"/>
                      </a:cubicBezTo>
                      <a:lnTo>
                        <a:pt x="12107" y="23677"/>
                      </a:lnTo>
                      <a:cubicBezTo>
                        <a:pt x="10971" y="24258"/>
                        <a:pt x="9627" y="24258"/>
                        <a:pt x="8490" y="23677"/>
                      </a:cubicBezTo>
                      <a:lnTo>
                        <a:pt x="686" y="19200"/>
                      </a:lnTo>
                      <a:cubicBezTo>
                        <a:pt x="107" y="18952"/>
                        <a:pt x="-157" y="18276"/>
                        <a:pt x="96" y="17695"/>
                      </a:cubicBezTo>
                      <a:cubicBezTo>
                        <a:pt x="211" y="17428"/>
                        <a:pt x="421" y="17219"/>
                        <a:pt x="686" y="17105"/>
                      </a:cubicBezTo>
                      <a:lnTo>
                        <a:pt x="12868" y="10056"/>
                      </a:lnTo>
                      <a:lnTo>
                        <a:pt x="15438" y="8627"/>
                      </a:lnTo>
                      <a:lnTo>
                        <a:pt x="17247" y="7580"/>
                      </a:lnTo>
                      <a:lnTo>
                        <a:pt x="19055" y="6532"/>
                      </a:lnTo>
                      <a:lnTo>
                        <a:pt x="29525" y="436"/>
                      </a:lnTo>
                      <a:cubicBezTo>
                        <a:pt x="30661" y="-145"/>
                        <a:pt x="32005" y="-145"/>
                        <a:pt x="33141" y="43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4" name="Google Shape;2154;p34"/>
                <p:cNvSpPr/>
                <p:nvPr/>
              </p:nvSpPr>
              <p:spPr>
                <a:xfrm>
                  <a:off x="4680529" y="5050364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411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5" name="Google Shape;2155;p34"/>
                <p:cNvSpPr/>
                <p:nvPr/>
              </p:nvSpPr>
              <p:spPr>
                <a:xfrm>
                  <a:off x="4663322" y="5040268"/>
                  <a:ext cx="2893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938" h="17011" extrusionOk="0">
                      <a:moveTo>
                        <a:pt x="254" y="9506"/>
                      </a:moveTo>
                      <a:lnTo>
                        <a:pt x="12532" y="16554"/>
                      </a:lnTo>
                      <a:cubicBezTo>
                        <a:pt x="13760" y="17164"/>
                        <a:pt x="15205" y="17164"/>
                        <a:pt x="16434" y="16554"/>
                      </a:cubicBezTo>
                      <a:lnTo>
                        <a:pt x="28046" y="9792"/>
                      </a:lnTo>
                      <a:cubicBezTo>
                        <a:pt x="29188" y="9125"/>
                        <a:pt x="29283" y="8077"/>
                        <a:pt x="28046" y="7506"/>
                      </a:cubicBezTo>
                      <a:lnTo>
                        <a:pt x="15863" y="457"/>
                      </a:lnTo>
                      <a:cubicBezTo>
                        <a:pt x="14634" y="-152"/>
                        <a:pt x="13189" y="-152"/>
                        <a:pt x="11961" y="457"/>
                      </a:cubicBezTo>
                      <a:lnTo>
                        <a:pt x="254" y="7220"/>
                      </a:lnTo>
                      <a:cubicBezTo>
                        <a:pt x="254" y="7982"/>
                        <a:pt x="-317" y="8935"/>
                        <a:pt x="25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6" name="Google Shape;2156;p34"/>
                <p:cNvSpPr/>
                <p:nvPr/>
              </p:nvSpPr>
              <p:spPr>
                <a:xfrm>
                  <a:off x="4646050" y="503045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8268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7" name="Google Shape;2157;p34"/>
                <p:cNvSpPr/>
                <p:nvPr/>
              </p:nvSpPr>
              <p:spPr>
                <a:xfrm>
                  <a:off x="4499297" y="4945494"/>
                  <a:ext cx="29352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52" h="17011" extrusionOk="0">
                      <a:moveTo>
                        <a:pt x="668" y="9506"/>
                      </a:moveTo>
                      <a:lnTo>
                        <a:pt x="12851" y="16554"/>
                      </a:lnTo>
                      <a:cubicBezTo>
                        <a:pt x="14080" y="17164"/>
                        <a:pt x="15524" y="17164"/>
                        <a:pt x="16753" y="16554"/>
                      </a:cubicBezTo>
                      <a:lnTo>
                        <a:pt x="28460" y="9791"/>
                      </a:lnTo>
                      <a:cubicBezTo>
                        <a:pt x="29602" y="9125"/>
                        <a:pt x="29697" y="8077"/>
                        <a:pt x="28460" y="7506"/>
                      </a:cubicBezTo>
                      <a:lnTo>
                        <a:pt x="16277" y="457"/>
                      </a:lnTo>
                      <a:cubicBezTo>
                        <a:pt x="15048" y="-152"/>
                        <a:pt x="13604" y="-152"/>
                        <a:pt x="12375" y="457"/>
                      </a:cubicBezTo>
                      <a:lnTo>
                        <a:pt x="763" y="7220"/>
                      </a:lnTo>
                      <a:cubicBezTo>
                        <a:pt x="-189" y="7982"/>
                        <a:pt x="-284" y="8934"/>
                        <a:pt x="66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8" name="Google Shape;2158;p34"/>
                <p:cNvSpPr/>
                <p:nvPr/>
              </p:nvSpPr>
              <p:spPr>
                <a:xfrm>
                  <a:off x="4482022" y="493568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7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9" name="Google Shape;2159;p34"/>
                <p:cNvSpPr/>
                <p:nvPr/>
              </p:nvSpPr>
              <p:spPr>
                <a:xfrm>
                  <a:off x="4464795" y="4925682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8268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0" name="Google Shape;2160;p34"/>
                <p:cNvSpPr/>
                <p:nvPr/>
              </p:nvSpPr>
              <p:spPr>
                <a:xfrm>
                  <a:off x="4447522" y="4915490"/>
                  <a:ext cx="29387" cy="172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7202" extrusionOk="0">
                      <a:moveTo>
                        <a:pt x="761" y="9601"/>
                      </a:moveTo>
                      <a:lnTo>
                        <a:pt x="12944" y="16745"/>
                      </a:lnTo>
                      <a:cubicBezTo>
                        <a:pt x="14173" y="17355"/>
                        <a:pt x="15618" y="17355"/>
                        <a:pt x="16846" y="16745"/>
                      </a:cubicBezTo>
                      <a:lnTo>
                        <a:pt x="28458" y="9982"/>
                      </a:lnTo>
                      <a:cubicBezTo>
                        <a:pt x="29600" y="9316"/>
                        <a:pt x="29791" y="8363"/>
                        <a:pt x="28458" y="7792"/>
                      </a:cubicBezTo>
                      <a:lnTo>
                        <a:pt x="16180" y="457"/>
                      </a:lnTo>
                      <a:cubicBezTo>
                        <a:pt x="14951" y="-152"/>
                        <a:pt x="13507" y="-152"/>
                        <a:pt x="12278" y="457"/>
                      </a:cubicBezTo>
                      <a:lnTo>
                        <a:pt x="666" y="7220"/>
                      </a:lnTo>
                      <a:cubicBezTo>
                        <a:pt x="-190" y="8077"/>
                        <a:pt x="-286" y="8935"/>
                        <a:pt x="761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1" name="Google Shape;2161;p34"/>
                <p:cNvSpPr/>
                <p:nvPr/>
              </p:nvSpPr>
              <p:spPr>
                <a:xfrm>
                  <a:off x="4624469" y="5017884"/>
                  <a:ext cx="34098" cy="19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98" h="19393" extrusionOk="0">
                      <a:moveTo>
                        <a:pt x="1035" y="9411"/>
                      </a:moveTo>
                      <a:lnTo>
                        <a:pt x="17691" y="18936"/>
                      </a:lnTo>
                      <a:cubicBezTo>
                        <a:pt x="18887" y="19546"/>
                        <a:pt x="20303" y="19546"/>
                        <a:pt x="21499" y="18936"/>
                      </a:cubicBezTo>
                      <a:lnTo>
                        <a:pt x="33205" y="12268"/>
                      </a:lnTo>
                      <a:cubicBezTo>
                        <a:pt x="34348" y="11602"/>
                        <a:pt x="34443" y="10554"/>
                        <a:pt x="33205" y="9982"/>
                      </a:cubicBezTo>
                      <a:lnTo>
                        <a:pt x="16549" y="457"/>
                      </a:lnTo>
                      <a:cubicBezTo>
                        <a:pt x="15321" y="-152"/>
                        <a:pt x="13876" y="-152"/>
                        <a:pt x="12647" y="457"/>
                      </a:cubicBezTo>
                      <a:lnTo>
                        <a:pt x="1035" y="7220"/>
                      </a:lnTo>
                      <a:cubicBezTo>
                        <a:pt x="-297" y="7887"/>
                        <a:pt x="-392" y="8839"/>
                        <a:pt x="1035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2" name="Google Shape;2162;p34"/>
                <p:cNvSpPr/>
                <p:nvPr/>
              </p:nvSpPr>
              <p:spPr>
                <a:xfrm>
                  <a:off x="4516514" y="4955590"/>
                  <a:ext cx="33778" cy="19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778" h="19392" extrusionOk="0">
                      <a:moveTo>
                        <a:pt x="679" y="9411"/>
                      </a:moveTo>
                      <a:lnTo>
                        <a:pt x="17335" y="18936"/>
                      </a:lnTo>
                      <a:cubicBezTo>
                        <a:pt x="18563" y="19545"/>
                        <a:pt x="20008" y="19545"/>
                        <a:pt x="21237" y="18936"/>
                      </a:cubicBezTo>
                      <a:lnTo>
                        <a:pt x="32849" y="12173"/>
                      </a:lnTo>
                      <a:cubicBezTo>
                        <a:pt x="33991" y="11506"/>
                        <a:pt x="34181" y="10554"/>
                        <a:pt x="32849" y="9982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3" name="Google Shape;2163;p34"/>
                <p:cNvSpPr/>
                <p:nvPr/>
              </p:nvSpPr>
              <p:spPr>
                <a:xfrm>
                  <a:off x="4538177" y="4968068"/>
                  <a:ext cx="98308" cy="568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08" h="56826" extrusionOk="0">
                      <a:moveTo>
                        <a:pt x="716" y="9411"/>
                      </a:moveTo>
                      <a:lnTo>
                        <a:pt x="81902" y="56369"/>
                      </a:lnTo>
                      <a:cubicBezTo>
                        <a:pt x="83131" y="56978"/>
                        <a:pt x="84576" y="56978"/>
                        <a:pt x="85804" y="56369"/>
                      </a:cubicBezTo>
                      <a:lnTo>
                        <a:pt x="97416" y="49606"/>
                      </a:lnTo>
                      <a:cubicBezTo>
                        <a:pt x="98558" y="48939"/>
                        <a:pt x="98653" y="47987"/>
                        <a:pt x="97416" y="47415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887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4" name="Google Shape;2164;p34"/>
                <p:cNvSpPr/>
                <p:nvPr/>
              </p:nvSpPr>
              <p:spPr>
                <a:xfrm>
                  <a:off x="4683753" y="5013502"/>
                  <a:ext cx="29387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16" extrusionOk="0">
                      <a:moveTo>
                        <a:pt x="761" y="9411"/>
                      </a:moveTo>
                      <a:lnTo>
                        <a:pt x="12944" y="16459"/>
                      </a:lnTo>
                      <a:cubicBezTo>
                        <a:pt x="14173" y="17069"/>
                        <a:pt x="15618" y="17069"/>
                        <a:pt x="16846" y="16459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125"/>
                      </a:lnTo>
                      <a:cubicBezTo>
                        <a:pt x="-190" y="7792"/>
                        <a:pt x="-286" y="8839"/>
                        <a:pt x="761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5" name="Google Shape;2165;p34"/>
                <p:cNvSpPr/>
                <p:nvPr/>
              </p:nvSpPr>
              <p:spPr>
                <a:xfrm>
                  <a:off x="4666502" y="5003310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873" y="16650"/>
                      </a:lnTo>
                      <a:cubicBezTo>
                        <a:pt x="14102" y="17259"/>
                        <a:pt x="15546" y="17259"/>
                        <a:pt x="16775" y="16650"/>
                      </a:cubicBezTo>
                      <a:lnTo>
                        <a:pt x="28482" y="9982"/>
                      </a:lnTo>
                      <a:cubicBezTo>
                        <a:pt x="29624" y="9316"/>
                        <a:pt x="29719" y="8268"/>
                        <a:pt x="28482" y="7696"/>
                      </a:cubicBezTo>
                      <a:lnTo>
                        <a:pt x="16109" y="457"/>
                      </a:lnTo>
                      <a:cubicBezTo>
                        <a:pt x="14880" y="-152"/>
                        <a:pt x="13435" y="-152"/>
                        <a:pt x="12207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6" name="Google Shape;2166;p34"/>
                <p:cNvSpPr/>
                <p:nvPr/>
              </p:nvSpPr>
              <p:spPr>
                <a:xfrm>
                  <a:off x="4649277" y="4993405"/>
                  <a:ext cx="2931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7011" extrusionOk="0">
                      <a:moveTo>
                        <a:pt x="688" y="9506"/>
                      </a:moveTo>
                      <a:lnTo>
                        <a:pt x="12871" y="16554"/>
                      </a:lnTo>
                      <a:cubicBezTo>
                        <a:pt x="14099" y="17164"/>
                        <a:pt x="15544" y="17164"/>
                        <a:pt x="16773" y="16554"/>
                      </a:cubicBezTo>
                      <a:lnTo>
                        <a:pt x="28385" y="9791"/>
                      </a:lnTo>
                      <a:cubicBezTo>
                        <a:pt x="29527" y="9125"/>
                        <a:pt x="29717" y="8077"/>
                        <a:pt x="28385" y="7506"/>
                      </a:cubicBezTo>
                      <a:lnTo>
                        <a:pt x="16202" y="457"/>
                      </a:lnTo>
                      <a:cubicBezTo>
                        <a:pt x="14973" y="-152"/>
                        <a:pt x="13528" y="-152"/>
                        <a:pt x="12299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4"/>
                        <a:pt x="68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7" name="Google Shape;2167;p34"/>
                <p:cNvSpPr/>
                <p:nvPr/>
              </p:nvSpPr>
              <p:spPr>
                <a:xfrm>
                  <a:off x="4631964" y="4983594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506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8" name="Google Shape;2168;p34"/>
                <p:cNvSpPr/>
                <p:nvPr/>
              </p:nvSpPr>
              <p:spPr>
                <a:xfrm>
                  <a:off x="4614700" y="497359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650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9" name="Google Shape;2169;p34"/>
                <p:cNvSpPr/>
                <p:nvPr/>
              </p:nvSpPr>
              <p:spPr>
                <a:xfrm>
                  <a:off x="4597237" y="4963591"/>
                  <a:ext cx="295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541" h="16916" extrusionOk="0">
                      <a:moveTo>
                        <a:pt x="857" y="9411"/>
                      </a:moveTo>
                      <a:lnTo>
                        <a:pt x="13135" y="16459"/>
                      </a:lnTo>
                      <a:cubicBezTo>
                        <a:pt x="14363" y="17069"/>
                        <a:pt x="15808" y="17069"/>
                        <a:pt x="17037" y="16459"/>
                      </a:cubicBezTo>
                      <a:lnTo>
                        <a:pt x="28648" y="9792"/>
                      </a:lnTo>
                      <a:cubicBezTo>
                        <a:pt x="29791" y="9125"/>
                        <a:pt x="29886" y="8077"/>
                        <a:pt x="28648" y="7506"/>
                      </a:cubicBezTo>
                      <a:lnTo>
                        <a:pt x="16466" y="457"/>
                      </a:lnTo>
                      <a:cubicBezTo>
                        <a:pt x="15237" y="-152"/>
                        <a:pt x="13792" y="-152"/>
                        <a:pt x="12563" y="457"/>
                      </a:cubicBezTo>
                      <a:lnTo>
                        <a:pt x="857" y="7220"/>
                      </a:lnTo>
                      <a:cubicBezTo>
                        <a:pt x="-286" y="7791"/>
                        <a:pt x="-286" y="8458"/>
                        <a:pt x="85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0" name="Google Shape;2170;p34"/>
                <p:cNvSpPr/>
                <p:nvPr/>
              </p:nvSpPr>
              <p:spPr>
                <a:xfrm>
                  <a:off x="4580242" y="4953400"/>
                  <a:ext cx="29308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8" h="17106" extrusionOk="0">
                      <a:moveTo>
                        <a:pt x="624" y="9601"/>
                      </a:moveTo>
                      <a:lnTo>
                        <a:pt x="12807" y="16650"/>
                      </a:lnTo>
                      <a:cubicBezTo>
                        <a:pt x="14036" y="17259"/>
                        <a:pt x="15481" y="17259"/>
                        <a:pt x="16709" y="16650"/>
                      </a:cubicBezTo>
                      <a:lnTo>
                        <a:pt x="28416" y="9887"/>
                      </a:lnTo>
                      <a:cubicBezTo>
                        <a:pt x="29558" y="9220"/>
                        <a:pt x="29654" y="8268"/>
                        <a:pt x="28416" y="7601"/>
                      </a:cubicBezTo>
                      <a:lnTo>
                        <a:pt x="16709" y="457"/>
                      </a:lnTo>
                      <a:cubicBezTo>
                        <a:pt x="15481" y="-152"/>
                        <a:pt x="14036" y="-152"/>
                        <a:pt x="12807" y="457"/>
                      </a:cubicBezTo>
                      <a:lnTo>
                        <a:pt x="1195" y="7220"/>
                      </a:lnTo>
                      <a:cubicBezTo>
                        <a:pt x="-232" y="8077"/>
                        <a:pt x="-327" y="9125"/>
                        <a:pt x="624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1" name="Google Shape;2171;p34"/>
                <p:cNvSpPr/>
                <p:nvPr/>
              </p:nvSpPr>
              <p:spPr>
                <a:xfrm>
                  <a:off x="4562889" y="4943589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887"/>
                        <a:pt x="-297" y="9411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2" name="Google Shape;2172;p34"/>
                <p:cNvSpPr/>
                <p:nvPr/>
              </p:nvSpPr>
              <p:spPr>
                <a:xfrm>
                  <a:off x="4545668" y="4933492"/>
                  <a:ext cx="29333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33" h="17487" extrusionOk="0">
                      <a:moveTo>
                        <a:pt x="649" y="9982"/>
                      </a:moveTo>
                      <a:lnTo>
                        <a:pt x="12832" y="17031"/>
                      </a:lnTo>
                      <a:cubicBezTo>
                        <a:pt x="14060" y="17640"/>
                        <a:pt x="15505" y="17640"/>
                        <a:pt x="16734" y="17031"/>
                      </a:cubicBezTo>
                      <a:lnTo>
                        <a:pt x="28441" y="10363"/>
                      </a:lnTo>
                      <a:cubicBezTo>
                        <a:pt x="29583" y="9696"/>
                        <a:pt x="29678" y="8649"/>
                        <a:pt x="28441" y="8077"/>
                      </a:cubicBezTo>
                      <a:lnTo>
                        <a:pt x="16448" y="457"/>
                      </a:lnTo>
                      <a:cubicBezTo>
                        <a:pt x="15253" y="-152"/>
                        <a:pt x="13837" y="-152"/>
                        <a:pt x="12641" y="457"/>
                      </a:cubicBezTo>
                      <a:lnTo>
                        <a:pt x="934" y="7125"/>
                      </a:lnTo>
                      <a:cubicBezTo>
                        <a:pt x="-208" y="7982"/>
                        <a:pt x="-303" y="9030"/>
                        <a:pt x="649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3" name="Google Shape;2173;p34"/>
                <p:cNvSpPr/>
                <p:nvPr/>
              </p:nvSpPr>
              <p:spPr>
                <a:xfrm>
                  <a:off x="4528402" y="4923967"/>
                  <a:ext cx="29313" cy="166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6630" extrusionOk="0">
                      <a:moveTo>
                        <a:pt x="688" y="9125"/>
                      </a:moveTo>
                      <a:lnTo>
                        <a:pt x="12871" y="16173"/>
                      </a:lnTo>
                      <a:cubicBezTo>
                        <a:pt x="14099" y="16783"/>
                        <a:pt x="15544" y="16783"/>
                        <a:pt x="16773" y="16173"/>
                      </a:cubicBezTo>
                      <a:lnTo>
                        <a:pt x="28384" y="9506"/>
                      </a:lnTo>
                      <a:cubicBezTo>
                        <a:pt x="29527" y="8839"/>
                        <a:pt x="29717" y="7791"/>
                        <a:pt x="28384" y="7220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601"/>
                        <a:pt x="-359" y="8553"/>
                        <a:pt x="688" y="9125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4" name="Google Shape;2174;p34"/>
                <p:cNvSpPr/>
                <p:nvPr/>
              </p:nvSpPr>
              <p:spPr>
                <a:xfrm>
                  <a:off x="4511410" y="4913585"/>
                  <a:ext cx="290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041" h="17011" extrusionOk="0">
                      <a:moveTo>
                        <a:pt x="357" y="9506"/>
                      </a:moveTo>
                      <a:lnTo>
                        <a:pt x="12635" y="16554"/>
                      </a:lnTo>
                      <a:cubicBezTo>
                        <a:pt x="13830" y="17164"/>
                        <a:pt x="15247" y="17164"/>
                        <a:pt x="16442" y="16554"/>
                      </a:cubicBezTo>
                      <a:lnTo>
                        <a:pt x="28149" y="9792"/>
                      </a:lnTo>
                      <a:cubicBezTo>
                        <a:pt x="29291" y="9125"/>
                        <a:pt x="29386" y="8172"/>
                        <a:pt x="28149" y="7506"/>
                      </a:cubicBezTo>
                      <a:lnTo>
                        <a:pt x="15966" y="457"/>
                      </a:lnTo>
                      <a:cubicBezTo>
                        <a:pt x="14737" y="-152"/>
                        <a:pt x="13293" y="-152"/>
                        <a:pt x="12064" y="457"/>
                      </a:cubicBezTo>
                      <a:lnTo>
                        <a:pt x="357" y="7220"/>
                      </a:lnTo>
                      <a:cubicBezTo>
                        <a:pt x="-119" y="7982"/>
                        <a:pt x="-119" y="8934"/>
                        <a:pt x="357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5" name="Google Shape;2175;p34"/>
                <p:cNvSpPr/>
                <p:nvPr/>
              </p:nvSpPr>
              <p:spPr>
                <a:xfrm>
                  <a:off x="4493824" y="4903774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6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6" name="Google Shape;2176;p34"/>
                <p:cNvSpPr/>
                <p:nvPr/>
              </p:nvSpPr>
              <p:spPr>
                <a:xfrm>
                  <a:off x="4701039" y="5023503"/>
                  <a:ext cx="42331" cy="244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31" h="24441" extrusionOk="0">
                      <a:moveTo>
                        <a:pt x="607" y="9411"/>
                      </a:moveTo>
                      <a:lnTo>
                        <a:pt x="25829" y="23984"/>
                      </a:lnTo>
                      <a:cubicBezTo>
                        <a:pt x="27058" y="24594"/>
                        <a:pt x="28503" y="24594"/>
                        <a:pt x="29732" y="23984"/>
                      </a:cubicBezTo>
                      <a:lnTo>
                        <a:pt x="41439" y="17221"/>
                      </a:lnTo>
                      <a:cubicBezTo>
                        <a:pt x="42581" y="16555"/>
                        <a:pt x="42676" y="15602"/>
                        <a:pt x="41439" y="15031"/>
                      </a:cubicBezTo>
                      <a:lnTo>
                        <a:pt x="16121" y="457"/>
                      </a:lnTo>
                      <a:cubicBezTo>
                        <a:pt x="14892" y="-152"/>
                        <a:pt x="13448" y="-152"/>
                        <a:pt x="12219" y="457"/>
                      </a:cubicBezTo>
                      <a:lnTo>
                        <a:pt x="607" y="7220"/>
                      </a:lnTo>
                      <a:cubicBezTo>
                        <a:pt x="-154" y="7792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7" name="Google Shape;2177;p34"/>
                <p:cNvSpPr/>
                <p:nvPr/>
              </p:nvSpPr>
              <p:spPr>
                <a:xfrm>
                  <a:off x="4675609" y="5027945"/>
                  <a:ext cx="29345" cy="171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142" extrusionOk="0">
                      <a:moveTo>
                        <a:pt x="720" y="9541"/>
                      </a:moveTo>
                      <a:lnTo>
                        <a:pt x="12903" y="16685"/>
                      </a:lnTo>
                      <a:cubicBezTo>
                        <a:pt x="14131" y="17295"/>
                        <a:pt x="15576" y="17295"/>
                        <a:pt x="16805" y="16685"/>
                      </a:cubicBezTo>
                      <a:lnTo>
                        <a:pt x="28416" y="9923"/>
                      </a:lnTo>
                      <a:cubicBezTo>
                        <a:pt x="29559" y="9256"/>
                        <a:pt x="29749" y="8303"/>
                        <a:pt x="28416" y="7732"/>
                      </a:cubicBezTo>
                      <a:lnTo>
                        <a:pt x="16519" y="493"/>
                      </a:lnTo>
                      <a:cubicBezTo>
                        <a:pt x="15302" y="-164"/>
                        <a:pt x="13834" y="-164"/>
                        <a:pt x="12617" y="493"/>
                      </a:cubicBezTo>
                      <a:lnTo>
                        <a:pt x="1005" y="7256"/>
                      </a:lnTo>
                      <a:cubicBezTo>
                        <a:pt x="-232" y="8017"/>
                        <a:pt x="-327" y="8970"/>
                        <a:pt x="720" y="954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8" name="Google Shape;2178;p34"/>
                <p:cNvSpPr/>
                <p:nvPr/>
              </p:nvSpPr>
              <p:spPr>
                <a:xfrm>
                  <a:off x="4658328" y="501817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9" name="Google Shape;2179;p34"/>
                <p:cNvSpPr/>
                <p:nvPr/>
              </p:nvSpPr>
              <p:spPr>
                <a:xfrm>
                  <a:off x="4641064" y="5008168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0" name="Google Shape;2180;p34"/>
                <p:cNvSpPr/>
                <p:nvPr/>
              </p:nvSpPr>
              <p:spPr>
                <a:xfrm>
                  <a:off x="4623779" y="4998072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5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1" name="Google Shape;2181;p34"/>
                <p:cNvSpPr/>
                <p:nvPr/>
              </p:nvSpPr>
              <p:spPr>
                <a:xfrm>
                  <a:off x="4606671" y="4988070"/>
                  <a:ext cx="2924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44" h="17106" extrusionOk="0">
                      <a:moveTo>
                        <a:pt x="560" y="9601"/>
                      </a:moveTo>
                      <a:lnTo>
                        <a:pt x="12742" y="16650"/>
                      </a:lnTo>
                      <a:cubicBezTo>
                        <a:pt x="13971" y="17259"/>
                        <a:pt x="15416" y="17259"/>
                        <a:pt x="16645" y="16650"/>
                      </a:cubicBezTo>
                      <a:lnTo>
                        <a:pt x="28352" y="9697"/>
                      </a:lnTo>
                      <a:cubicBezTo>
                        <a:pt x="29494" y="9030"/>
                        <a:pt x="29589" y="8077"/>
                        <a:pt x="28352" y="7506"/>
                      </a:cubicBezTo>
                      <a:lnTo>
                        <a:pt x="16169" y="457"/>
                      </a:lnTo>
                      <a:cubicBezTo>
                        <a:pt x="14940" y="-152"/>
                        <a:pt x="13495" y="-152"/>
                        <a:pt x="12267" y="457"/>
                      </a:cubicBezTo>
                      <a:lnTo>
                        <a:pt x="655" y="7220"/>
                      </a:lnTo>
                      <a:cubicBezTo>
                        <a:pt x="-202" y="7982"/>
                        <a:pt x="-202" y="9030"/>
                        <a:pt x="56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2" name="Google Shape;2182;p34"/>
                <p:cNvSpPr/>
                <p:nvPr/>
              </p:nvSpPr>
              <p:spPr>
                <a:xfrm>
                  <a:off x="4589253" y="4978260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3" name="Google Shape;2183;p34"/>
                <p:cNvSpPr/>
                <p:nvPr/>
              </p:nvSpPr>
              <p:spPr>
                <a:xfrm>
                  <a:off x="4572002" y="496825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4" name="Google Shape;2184;p34"/>
                <p:cNvSpPr/>
                <p:nvPr/>
              </p:nvSpPr>
              <p:spPr>
                <a:xfrm>
                  <a:off x="4554738" y="4958162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5" name="Google Shape;2185;p34"/>
                <p:cNvSpPr/>
                <p:nvPr/>
              </p:nvSpPr>
              <p:spPr>
                <a:xfrm>
                  <a:off x="4537453" y="4948351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6" name="Google Shape;2186;p34"/>
                <p:cNvSpPr/>
                <p:nvPr/>
              </p:nvSpPr>
              <p:spPr>
                <a:xfrm>
                  <a:off x="4520202" y="4938350"/>
                  <a:ext cx="2929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6916" extrusionOk="0">
                      <a:moveTo>
                        <a:pt x="607" y="9411"/>
                      </a:moveTo>
                      <a:lnTo>
                        <a:pt x="12790" y="16459"/>
                      </a:lnTo>
                      <a:cubicBezTo>
                        <a:pt x="14019" y="17069"/>
                        <a:pt x="15464" y="17069"/>
                        <a:pt x="16692" y="16459"/>
                      </a:cubicBezTo>
                      <a:lnTo>
                        <a:pt x="28399" y="9791"/>
                      </a:lnTo>
                      <a:cubicBezTo>
                        <a:pt x="29541" y="9125"/>
                        <a:pt x="29636" y="8077"/>
                        <a:pt x="28399" y="7506"/>
                      </a:cubicBezTo>
                      <a:lnTo>
                        <a:pt x="16121" y="457"/>
                      </a:lnTo>
                      <a:cubicBezTo>
                        <a:pt x="14893" y="-152"/>
                        <a:pt x="13448" y="-152"/>
                        <a:pt x="12219" y="457"/>
                      </a:cubicBezTo>
                      <a:lnTo>
                        <a:pt x="607" y="7124"/>
                      </a:lnTo>
                      <a:cubicBezTo>
                        <a:pt x="-154" y="7791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7" name="Google Shape;2187;p34"/>
                <p:cNvSpPr/>
                <p:nvPr/>
              </p:nvSpPr>
              <p:spPr>
                <a:xfrm>
                  <a:off x="4502927" y="4928253"/>
                  <a:ext cx="2937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7011" extrusionOk="0">
                      <a:moveTo>
                        <a:pt x="750" y="9506"/>
                      </a:moveTo>
                      <a:lnTo>
                        <a:pt x="12933" y="16555"/>
                      </a:lnTo>
                      <a:cubicBezTo>
                        <a:pt x="14161" y="17164"/>
                        <a:pt x="15606" y="17164"/>
                        <a:pt x="16835" y="16555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982"/>
                        <a:pt x="-297" y="8934"/>
                        <a:pt x="75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8" name="Google Shape;2188;p34"/>
                <p:cNvSpPr/>
                <p:nvPr/>
              </p:nvSpPr>
              <p:spPr>
                <a:xfrm>
                  <a:off x="4464204" y="4906060"/>
                  <a:ext cx="50834" cy="289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34" h="28917" extrusionOk="0">
                      <a:moveTo>
                        <a:pt x="830" y="9411"/>
                      </a:moveTo>
                      <a:lnTo>
                        <a:pt x="34428" y="28461"/>
                      </a:lnTo>
                      <a:cubicBezTo>
                        <a:pt x="35624" y="29070"/>
                        <a:pt x="37040" y="29070"/>
                        <a:pt x="38235" y="28461"/>
                      </a:cubicBezTo>
                      <a:lnTo>
                        <a:pt x="49942" y="21698"/>
                      </a:lnTo>
                      <a:cubicBezTo>
                        <a:pt x="51084" y="21031"/>
                        <a:pt x="51179" y="20079"/>
                        <a:pt x="49942" y="19507"/>
                      </a:cubicBezTo>
                      <a:lnTo>
                        <a:pt x="16344" y="457"/>
                      </a:lnTo>
                      <a:cubicBezTo>
                        <a:pt x="15116" y="-152"/>
                        <a:pt x="13671" y="-152"/>
                        <a:pt x="12442" y="457"/>
                      </a:cubicBezTo>
                      <a:lnTo>
                        <a:pt x="830" y="7125"/>
                      </a:lnTo>
                      <a:cubicBezTo>
                        <a:pt x="-26" y="7792"/>
                        <a:pt x="-502" y="8839"/>
                        <a:pt x="83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9" name="Google Shape;2189;p34"/>
                <p:cNvSpPr/>
                <p:nvPr/>
              </p:nvSpPr>
              <p:spPr>
                <a:xfrm>
                  <a:off x="4692687" y="5037982"/>
                  <a:ext cx="33968" cy="19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968" h="19459" extrusionOk="0">
                      <a:moveTo>
                        <a:pt x="870" y="9506"/>
                      </a:moveTo>
                      <a:lnTo>
                        <a:pt x="17526" y="19031"/>
                      </a:lnTo>
                      <a:cubicBezTo>
                        <a:pt x="18764" y="19603"/>
                        <a:pt x="20190" y="19603"/>
                        <a:pt x="21428" y="19031"/>
                      </a:cubicBezTo>
                      <a:lnTo>
                        <a:pt x="33040" y="12268"/>
                      </a:lnTo>
                      <a:cubicBezTo>
                        <a:pt x="34182" y="11602"/>
                        <a:pt x="34372" y="10554"/>
                        <a:pt x="33040" y="9982"/>
                      </a:cubicBezTo>
                      <a:lnTo>
                        <a:pt x="16384" y="457"/>
                      </a:lnTo>
                      <a:cubicBezTo>
                        <a:pt x="15155" y="-152"/>
                        <a:pt x="13710" y="-152"/>
                        <a:pt x="12481" y="457"/>
                      </a:cubicBezTo>
                      <a:lnTo>
                        <a:pt x="870" y="7220"/>
                      </a:lnTo>
                      <a:cubicBezTo>
                        <a:pt x="13" y="7982"/>
                        <a:pt x="-558" y="8934"/>
                        <a:pt x="87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190" name="Google Shape;2190;p34"/>
              <p:cNvGrpSpPr/>
              <p:nvPr/>
            </p:nvGrpSpPr>
            <p:grpSpPr>
              <a:xfrm>
                <a:off x="4543079" y="4626313"/>
                <a:ext cx="286486" cy="386884"/>
                <a:chOff x="4543079" y="4626313"/>
                <a:chExt cx="286486" cy="386884"/>
              </a:xfrm>
            </p:grpSpPr>
            <p:grpSp>
              <p:nvGrpSpPr>
                <p:cNvPr id="2191" name="Google Shape;2191;p34"/>
                <p:cNvGrpSpPr/>
                <p:nvPr/>
              </p:nvGrpSpPr>
              <p:grpSpPr>
                <a:xfrm>
                  <a:off x="4543079" y="4626313"/>
                  <a:ext cx="286486" cy="386884"/>
                  <a:chOff x="4543079" y="4626313"/>
                  <a:chExt cx="286486" cy="386884"/>
                </a:xfrm>
              </p:grpSpPr>
              <p:sp>
                <p:nvSpPr>
                  <p:cNvPr id="2192" name="Google Shape;2192;p34"/>
                  <p:cNvSpPr/>
                  <p:nvPr/>
                </p:nvSpPr>
                <p:spPr>
                  <a:xfrm>
                    <a:off x="4543081" y="4626313"/>
                    <a:ext cx="286484" cy="38688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6484" h="386884" extrusionOk="0">
                        <a:moveTo>
                          <a:pt x="277062" y="386884"/>
                        </a:moveTo>
                        <a:lnTo>
                          <a:pt x="277062" y="386884"/>
                        </a:lnTo>
                        <a:lnTo>
                          <a:pt x="0" y="226674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2880" y="152559"/>
                          <a:pt x="286511" y="158884"/>
                          <a:pt x="286485" y="165714"/>
                        </a:cubicBezTo>
                        <a:lnTo>
                          <a:pt x="286485" y="370310"/>
                        </a:lnTo>
                        <a:cubicBezTo>
                          <a:pt x="284867" y="380883"/>
                          <a:pt x="282963" y="383836"/>
                          <a:pt x="277062" y="386884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3" name="Google Shape;2193;p34"/>
                  <p:cNvSpPr/>
                  <p:nvPr/>
                </p:nvSpPr>
                <p:spPr>
                  <a:xfrm>
                    <a:off x="4543081" y="4626313"/>
                    <a:ext cx="284295" cy="1755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4295" h="175524" extrusionOk="0">
                        <a:moveTo>
                          <a:pt x="251650" y="175524"/>
                        </a:moveTo>
                        <a:lnTo>
                          <a:pt x="0" y="15885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0042" y="150940"/>
                          <a:pt x="282574" y="153540"/>
                          <a:pt x="284296" y="156665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4" name="Google Shape;2194;p34"/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5" name="Google Shape;2195;p34"/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6" name="Google Shape;2196;p34"/>
                  <p:cNvSpPr/>
                  <p:nvPr/>
                </p:nvSpPr>
                <p:spPr>
                  <a:xfrm>
                    <a:off x="4543081" y="4845081"/>
                    <a:ext cx="277062" cy="16802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062" h="168020" extrusionOk="0">
                        <a:moveTo>
                          <a:pt x="277062" y="168021"/>
                        </a:moveTo>
                        <a:lnTo>
                          <a:pt x="277062" y="160210"/>
                        </a:lnTo>
                        <a:lnTo>
                          <a:pt x="0" y="0"/>
                        </a:lnTo>
                        <a:lnTo>
                          <a:pt x="0" y="7906"/>
                        </a:lnTo>
                        <a:lnTo>
                          <a:pt x="277062" y="168021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197" name="Google Shape;2197;p34"/>
                <p:cNvSpPr/>
                <p:nvPr/>
              </p:nvSpPr>
              <p:spPr>
                <a:xfrm>
                  <a:off x="4550219" y="4641437"/>
                  <a:ext cx="3426" cy="1999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6" h="199929" extrusionOk="0">
                      <a:moveTo>
                        <a:pt x="0" y="199930"/>
                      </a:moveTo>
                      <a:lnTo>
                        <a:pt x="0" y="0"/>
                      </a:lnTo>
                      <a:lnTo>
                        <a:pt x="3426" y="2000"/>
                      </a:lnTo>
                      <a:lnTo>
                        <a:pt x="3426" y="198310"/>
                      </a:lnTo>
                      <a:lnTo>
                        <a:pt x="0" y="199930"/>
                      </a:lnTo>
                      <a:close/>
                    </a:path>
                  </a:pathLst>
                </a:custGeom>
                <a:solidFill>
                  <a:srgbClr val="1E3779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8" name="Google Shape;2198;p34"/>
                <p:cNvSpPr/>
                <p:nvPr/>
              </p:nvSpPr>
              <p:spPr>
                <a:xfrm>
                  <a:off x="4553645" y="4643437"/>
                  <a:ext cx="257645" cy="3448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7645" h="344805" extrusionOk="0">
                      <a:moveTo>
                        <a:pt x="0" y="0"/>
                      </a:moveTo>
                      <a:lnTo>
                        <a:pt x="0" y="196310"/>
                      </a:lnTo>
                      <a:lnTo>
                        <a:pt x="257646" y="344805"/>
                      </a:lnTo>
                      <a:lnTo>
                        <a:pt x="257646" y="14887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9" name="Google Shape;2199;p34"/>
                <p:cNvSpPr/>
                <p:nvPr/>
              </p:nvSpPr>
              <p:spPr>
                <a:xfrm>
                  <a:off x="4550219" y="4839747"/>
                  <a:ext cx="261072" cy="152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1072" h="152400" extrusionOk="0">
                      <a:moveTo>
                        <a:pt x="0" y="1619"/>
                      </a:moveTo>
                      <a:lnTo>
                        <a:pt x="261072" y="152400"/>
                      </a:lnTo>
                      <a:lnTo>
                        <a:pt x="261072" y="148495"/>
                      </a:lnTo>
                      <a:lnTo>
                        <a:pt x="3426" y="0"/>
                      </a:lnTo>
                      <a:lnTo>
                        <a:pt x="0" y="1619"/>
                      </a:lnTo>
                      <a:close/>
                    </a:path>
                  </a:pathLst>
                </a:custGeom>
                <a:solidFill>
                  <a:srgbClr val="031F6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200" name="Google Shape;2200;p34"/>
            <p:cNvSpPr/>
            <p:nvPr/>
          </p:nvSpPr>
          <p:spPr>
            <a:xfrm>
              <a:off x="2723181" y="3858886"/>
              <a:ext cx="360479" cy="597446"/>
            </a:xfrm>
            <a:custGeom>
              <a:avLst/>
              <a:gdLst/>
              <a:ahLst/>
              <a:cxnLst/>
              <a:rect l="l" t="t" r="r" b="b"/>
              <a:pathLst>
                <a:path w="360479" h="597446" extrusionOk="0">
                  <a:moveTo>
                    <a:pt x="124331" y="5750"/>
                  </a:moveTo>
                  <a:cubicBezTo>
                    <a:pt x="117764" y="22133"/>
                    <a:pt x="134515" y="42326"/>
                    <a:pt x="179153" y="56327"/>
                  </a:cubicBezTo>
                  <a:cubicBezTo>
                    <a:pt x="223792" y="70329"/>
                    <a:pt x="227884" y="52327"/>
                    <a:pt x="227884" y="52327"/>
                  </a:cubicBezTo>
                  <a:cubicBezTo>
                    <a:pt x="257639" y="65662"/>
                    <a:pt x="286647" y="80607"/>
                    <a:pt x="314781" y="97094"/>
                  </a:cubicBezTo>
                  <a:cubicBezTo>
                    <a:pt x="341526" y="116144"/>
                    <a:pt x="353424" y="170151"/>
                    <a:pt x="357040" y="261782"/>
                  </a:cubicBezTo>
                  <a:cubicBezTo>
                    <a:pt x="361228" y="367890"/>
                    <a:pt x="361609" y="525243"/>
                    <a:pt x="358087" y="552389"/>
                  </a:cubicBezTo>
                  <a:cubicBezTo>
                    <a:pt x="358087" y="552389"/>
                    <a:pt x="307929" y="602300"/>
                    <a:pt x="243874" y="597062"/>
                  </a:cubicBezTo>
                  <a:cubicBezTo>
                    <a:pt x="179820" y="591823"/>
                    <a:pt x="71793" y="534863"/>
                    <a:pt x="45619" y="491144"/>
                  </a:cubicBezTo>
                  <a:cubicBezTo>
                    <a:pt x="46285" y="398180"/>
                    <a:pt x="57231" y="383035"/>
                    <a:pt x="42193" y="329219"/>
                  </a:cubicBezTo>
                  <a:cubicBezTo>
                    <a:pt x="7738" y="206632"/>
                    <a:pt x="-10441" y="156340"/>
                    <a:pt x="6311" y="74901"/>
                  </a:cubicBezTo>
                  <a:cubicBezTo>
                    <a:pt x="20111" y="7750"/>
                    <a:pt x="39432" y="-632"/>
                    <a:pt x="65987" y="35"/>
                  </a:cubicBezTo>
                  <a:cubicBezTo>
                    <a:pt x="85522" y="901"/>
                    <a:pt x="104997" y="2816"/>
                    <a:pt x="124331" y="575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1" name="Google Shape;2201;p34"/>
            <p:cNvSpPr/>
            <p:nvPr/>
          </p:nvSpPr>
          <p:spPr>
            <a:xfrm>
              <a:off x="2983060" y="3959444"/>
              <a:ext cx="457273" cy="356362"/>
            </a:xfrm>
            <a:custGeom>
              <a:avLst/>
              <a:gdLst/>
              <a:ahLst/>
              <a:cxnLst/>
              <a:rect l="l" t="t" r="r" b="b"/>
              <a:pathLst>
                <a:path w="457273" h="356362" extrusionOk="0">
                  <a:moveTo>
                    <a:pt x="202618" y="274952"/>
                  </a:moveTo>
                  <a:cubicBezTo>
                    <a:pt x="150080" y="288192"/>
                    <a:pt x="137707" y="255045"/>
                    <a:pt x="130759" y="227327"/>
                  </a:cubicBezTo>
                  <a:cubicBezTo>
                    <a:pt x="114388" y="160938"/>
                    <a:pt x="104870" y="100931"/>
                    <a:pt x="92497" y="62831"/>
                  </a:cubicBezTo>
                  <a:cubicBezTo>
                    <a:pt x="77840" y="18254"/>
                    <a:pt x="62421" y="11110"/>
                    <a:pt x="40721" y="2442"/>
                  </a:cubicBezTo>
                  <a:cubicBezTo>
                    <a:pt x="15308" y="-7750"/>
                    <a:pt x="-6868" y="13777"/>
                    <a:pt x="1983" y="70450"/>
                  </a:cubicBezTo>
                  <a:cubicBezTo>
                    <a:pt x="11977" y="137602"/>
                    <a:pt x="25112" y="184750"/>
                    <a:pt x="50143" y="264094"/>
                  </a:cubicBezTo>
                  <a:cubicBezTo>
                    <a:pt x="56711" y="284858"/>
                    <a:pt x="71368" y="321720"/>
                    <a:pt x="93354" y="339532"/>
                  </a:cubicBezTo>
                  <a:cubicBezTo>
                    <a:pt x="120575" y="361439"/>
                    <a:pt x="161406" y="360487"/>
                    <a:pt x="223367" y="345152"/>
                  </a:cubicBezTo>
                  <a:cubicBezTo>
                    <a:pt x="249731" y="338579"/>
                    <a:pt x="278665" y="322768"/>
                    <a:pt x="328062" y="299432"/>
                  </a:cubicBezTo>
                  <a:cubicBezTo>
                    <a:pt x="341482" y="293240"/>
                    <a:pt x="351952" y="289049"/>
                    <a:pt x="377650" y="277048"/>
                  </a:cubicBezTo>
                  <a:cubicBezTo>
                    <a:pt x="403454" y="265427"/>
                    <a:pt x="426079" y="247749"/>
                    <a:pt x="443608" y="225517"/>
                  </a:cubicBezTo>
                  <a:cubicBezTo>
                    <a:pt x="457123" y="205991"/>
                    <a:pt x="458931" y="196942"/>
                    <a:pt x="456171" y="192371"/>
                  </a:cubicBezTo>
                  <a:cubicBezTo>
                    <a:pt x="453411" y="187799"/>
                    <a:pt x="446654" y="187989"/>
                    <a:pt x="439420" y="196181"/>
                  </a:cubicBezTo>
                  <a:cubicBezTo>
                    <a:pt x="428946" y="210097"/>
                    <a:pt x="416049" y="222003"/>
                    <a:pt x="401349" y="231328"/>
                  </a:cubicBezTo>
                  <a:cubicBezTo>
                    <a:pt x="401349" y="231328"/>
                    <a:pt x="417910" y="214088"/>
                    <a:pt x="426952" y="202753"/>
                  </a:cubicBezTo>
                  <a:cubicBezTo>
                    <a:pt x="435249" y="193018"/>
                    <a:pt x="442167" y="182179"/>
                    <a:pt x="447510" y="170558"/>
                  </a:cubicBezTo>
                  <a:cubicBezTo>
                    <a:pt x="452269" y="159224"/>
                    <a:pt x="442466" y="143698"/>
                    <a:pt x="435042" y="151508"/>
                  </a:cubicBezTo>
                  <a:cubicBezTo>
                    <a:pt x="427618" y="159319"/>
                    <a:pt x="424001" y="167987"/>
                    <a:pt x="410391" y="184274"/>
                  </a:cubicBezTo>
                  <a:cubicBezTo>
                    <a:pt x="403232" y="192971"/>
                    <a:pt x="395051" y="200781"/>
                    <a:pt x="386025" y="207515"/>
                  </a:cubicBezTo>
                  <a:cubicBezTo>
                    <a:pt x="394480" y="196114"/>
                    <a:pt x="401992" y="184036"/>
                    <a:pt x="408487" y="171416"/>
                  </a:cubicBezTo>
                  <a:cubicBezTo>
                    <a:pt x="414319" y="161509"/>
                    <a:pt x="417162" y="150137"/>
                    <a:pt x="416673" y="138649"/>
                  </a:cubicBezTo>
                  <a:cubicBezTo>
                    <a:pt x="416673" y="132744"/>
                    <a:pt x="407916" y="125696"/>
                    <a:pt x="400016" y="136935"/>
                  </a:cubicBezTo>
                  <a:cubicBezTo>
                    <a:pt x="392117" y="148174"/>
                    <a:pt x="388310" y="162938"/>
                    <a:pt x="371463" y="180179"/>
                  </a:cubicBezTo>
                  <a:cubicBezTo>
                    <a:pt x="359471" y="192656"/>
                    <a:pt x="349287" y="199800"/>
                    <a:pt x="348906" y="196371"/>
                  </a:cubicBezTo>
                  <a:cubicBezTo>
                    <a:pt x="348525" y="192942"/>
                    <a:pt x="356235" y="185989"/>
                    <a:pt x="360518" y="171511"/>
                  </a:cubicBezTo>
                  <a:cubicBezTo>
                    <a:pt x="364801" y="157033"/>
                    <a:pt x="360518" y="141602"/>
                    <a:pt x="352428" y="139888"/>
                  </a:cubicBezTo>
                  <a:cubicBezTo>
                    <a:pt x="344338" y="138173"/>
                    <a:pt x="345956" y="138649"/>
                    <a:pt x="339579" y="152270"/>
                  </a:cubicBezTo>
                  <a:cubicBezTo>
                    <a:pt x="333202" y="165891"/>
                    <a:pt x="323779" y="176178"/>
                    <a:pt x="315879" y="196181"/>
                  </a:cubicBezTo>
                  <a:cubicBezTo>
                    <a:pt x="311874" y="210192"/>
                    <a:pt x="304450" y="222993"/>
                    <a:pt x="294274" y="233423"/>
                  </a:cubicBezTo>
                  <a:cubicBezTo>
                    <a:pt x="281330" y="247139"/>
                    <a:pt x="252681" y="262856"/>
                    <a:pt x="202618" y="274952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2" name="Google Shape;2202;p34"/>
            <p:cNvSpPr/>
            <p:nvPr/>
          </p:nvSpPr>
          <p:spPr>
            <a:xfrm>
              <a:off x="2966834" y="3952080"/>
              <a:ext cx="139371" cy="203905"/>
            </a:xfrm>
            <a:custGeom>
              <a:avLst/>
              <a:gdLst/>
              <a:ahLst/>
              <a:cxnLst/>
              <a:rect l="l" t="t" r="r" b="b"/>
              <a:pathLst>
                <a:path w="139371" h="203905" extrusionOk="0">
                  <a:moveTo>
                    <a:pt x="37531" y="948"/>
                  </a:moveTo>
                  <a:cubicBezTo>
                    <a:pt x="72652" y="-4291"/>
                    <a:pt x="97493" y="11521"/>
                    <a:pt x="113007" y="64861"/>
                  </a:cubicBezTo>
                  <a:cubicBezTo>
                    <a:pt x="128521" y="118201"/>
                    <a:pt x="139371" y="161921"/>
                    <a:pt x="139371" y="161921"/>
                  </a:cubicBezTo>
                  <a:cubicBezTo>
                    <a:pt x="125444" y="182018"/>
                    <a:pt x="104367" y="196020"/>
                    <a:pt x="80456" y="201068"/>
                  </a:cubicBezTo>
                  <a:cubicBezTo>
                    <a:pt x="38483" y="211165"/>
                    <a:pt x="23350" y="191067"/>
                    <a:pt x="23350" y="191067"/>
                  </a:cubicBezTo>
                  <a:cubicBezTo>
                    <a:pt x="23350" y="191067"/>
                    <a:pt x="11643" y="135251"/>
                    <a:pt x="4314" y="97246"/>
                  </a:cubicBezTo>
                  <a:cubicBezTo>
                    <a:pt x="-3015" y="59241"/>
                    <a:pt x="-5965" y="7330"/>
                    <a:pt x="37531" y="94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3" name="Google Shape;2203;p34"/>
            <p:cNvSpPr/>
            <p:nvPr/>
          </p:nvSpPr>
          <p:spPr>
            <a:xfrm>
              <a:off x="2806828" y="3576743"/>
              <a:ext cx="227254" cy="250802"/>
            </a:xfrm>
            <a:custGeom>
              <a:avLst/>
              <a:gdLst/>
              <a:ahLst/>
              <a:cxnLst/>
              <a:rect l="l" t="t" r="r" b="b"/>
              <a:pathLst>
                <a:path w="227254" h="250802" extrusionOk="0">
                  <a:moveTo>
                    <a:pt x="214479" y="103393"/>
                  </a:moveTo>
                  <a:cubicBezTo>
                    <a:pt x="214479" y="103393"/>
                    <a:pt x="269967" y="18907"/>
                    <a:pt x="149663" y="1762"/>
                  </a:cubicBezTo>
                  <a:cubicBezTo>
                    <a:pt x="62861" y="-10716"/>
                    <a:pt x="6896" y="45100"/>
                    <a:pt x="710" y="105679"/>
                  </a:cubicBezTo>
                  <a:cubicBezTo>
                    <a:pt x="-5477" y="163496"/>
                    <a:pt x="30119" y="223599"/>
                    <a:pt x="55817" y="247411"/>
                  </a:cubicBezTo>
                  <a:cubicBezTo>
                    <a:pt x="68381" y="251888"/>
                    <a:pt x="95316" y="254460"/>
                    <a:pt x="130817" y="238363"/>
                  </a:cubicBezTo>
                  <a:cubicBezTo>
                    <a:pt x="132258" y="222532"/>
                    <a:pt x="132799" y="206635"/>
                    <a:pt x="132435" y="190738"/>
                  </a:cubicBezTo>
                  <a:cubicBezTo>
                    <a:pt x="132435" y="190738"/>
                    <a:pt x="90748" y="101869"/>
                    <a:pt x="214479" y="1033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4" name="Google Shape;2204;p34"/>
            <p:cNvSpPr/>
            <p:nvPr/>
          </p:nvSpPr>
          <p:spPr>
            <a:xfrm>
              <a:off x="3061186" y="4495381"/>
              <a:ext cx="201300" cy="278129"/>
            </a:xfrm>
            <a:custGeom>
              <a:avLst/>
              <a:gdLst/>
              <a:ahLst/>
              <a:cxnLst/>
              <a:rect l="l" t="t" r="r" b="b"/>
              <a:pathLst>
                <a:path w="201300" h="278129" extrusionOk="0">
                  <a:moveTo>
                    <a:pt x="201301" y="253746"/>
                  </a:moveTo>
                  <a:lnTo>
                    <a:pt x="201301" y="0"/>
                  </a:lnTo>
                  <a:lnTo>
                    <a:pt x="0" y="117634"/>
                  </a:lnTo>
                  <a:lnTo>
                    <a:pt x="77570" y="278130"/>
                  </a:lnTo>
                  <a:lnTo>
                    <a:pt x="201301" y="253746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5" name="Google Shape;2205;p34"/>
            <p:cNvSpPr/>
            <p:nvPr/>
          </p:nvSpPr>
          <p:spPr>
            <a:xfrm>
              <a:off x="3130570" y="4465187"/>
              <a:ext cx="131916" cy="77057"/>
            </a:xfrm>
            <a:custGeom>
              <a:avLst/>
              <a:gdLst/>
              <a:ahLst/>
              <a:cxnLst/>
              <a:rect l="l" t="t" r="r" b="b"/>
              <a:pathLst>
                <a:path w="131916" h="77057" extrusionOk="0">
                  <a:moveTo>
                    <a:pt x="0" y="44863"/>
                  </a:moveTo>
                  <a:lnTo>
                    <a:pt x="77284" y="0"/>
                  </a:lnTo>
                  <a:lnTo>
                    <a:pt x="131916" y="31528"/>
                  </a:lnTo>
                  <a:lnTo>
                    <a:pt x="51777" y="77057"/>
                  </a:lnTo>
                  <a:lnTo>
                    <a:pt x="0" y="44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06" name="Google Shape;2206;p34"/>
          <p:cNvSpPr txBox="1">
            <a:spLocks noGrp="1"/>
          </p:cNvSpPr>
          <p:nvPr>
            <p:ph type="ctrTitle" idx="4294967295"/>
          </p:nvPr>
        </p:nvSpPr>
        <p:spPr>
          <a:xfrm>
            <a:off x="685800" y="1202438"/>
            <a:ext cx="4343700" cy="83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7200"/>
              <a:t>THANKS!</a:t>
            </a:r>
            <a:endParaRPr sz="7200"/>
          </a:p>
        </p:txBody>
      </p:sp>
      <p:sp>
        <p:nvSpPr>
          <p:cNvPr id="2207" name="Google Shape;2207;p34"/>
          <p:cNvSpPr txBox="1">
            <a:spLocks noGrp="1"/>
          </p:cNvSpPr>
          <p:nvPr>
            <p:ph type="subTitle" idx="4294967295"/>
          </p:nvPr>
        </p:nvSpPr>
        <p:spPr>
          <a:xfrm>
            <a:off x="685800" y="2021059"/>
            <a:ext cx="4343700" cy="1920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accent1"/>
                </a:solidFill>
                <a:latin typeface="Barlow"/>
                <a:ea typeface="Barlow"/>
                <a:cs typeface="Barlow"/>
                <a:sym typeface="Barlow"/>
              </a:rPr>
              <a:t>Any questions?</a:t>
            </a:r>
            <a:endParaRPr sz="3600" b="1" dirty="0">
              <a:solidFill>
                <a:schemeClr val="accen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2" name="Google Shape;2212;p3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ferences</a:t>
            </a:r>
            <a:endParaRPr dirty="0"/>
          </a:p>
        </p:txBody>
      </p:sp>
      <p:sp>
        <p:nvSpPr>
          <p:cNvPr id="2213" name="Google Shape;2213;p35"/>
          <p:cNvSpPr txBox="1">
            <a:spLocks noGrp="1"/>
          </p:cNvSpPr>
          <p:nvPr>
            <p:ph type="body" idx="1"/>
          </p:nvPr>
        </p:nvSpPr>
        <p:spPr>
          <a:xfrm>
            <a:off x="457200" y="1462350"/>
            <a:ext cx="81918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  <p:sp>
        <p:nvSpPr>
          <p:cNvPr id="2214" name="Google Shape;2214;p3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05474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Project motivation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What questions do we answer?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1</a:t>
            </a:r>
            <a:endParaRPr sz="3600" b="1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408" name="Google Shape;408;p15"/>
          <p:cNvGrpSpPr/>
          <p:nvPr/>
        </p:nvGrpSpPr>
        <p:grpSpPr>
          <a:xfrm>
            <a:off x="5435079" y="912423"/>
            <a:ext cx="3239723" cy="3318665"/>
            <a:chOff x="2270525" y="117216"/>
            <a:chExt cx="4650765" cy="4762722"/>
          </a:xfrm>
        </p:grpSpPr>
        <p:sp>
          <p:nvSpPr>
            <p:cNvPr id="409" name="Google Shape;409;p15"/>
            <p:cNvSpPr/>
            <p:nvPr/>
          </p:nvSpPr>
          <p:spPr>
            <a:xfrm>
              <a:off x="2270525" y="2788917"/>
              <a:ext cx="1367464" cy="791146"/>
            </a:xfrm>
            <a:custGeom>
              <a:avLst/>
              <a:gdLst/>
              <a:ahLst/>
              <a:cxnLst/>
              <a:rect l="l" t="t" r="r" b="b"/>
              <a:pathLst>
                <a:path w="1367464" h="791146" extrusionOk="0">
                  <a:moveTo>
                    <a:pt x="1367464" y="395573"/>
                  </a:moveTo>
                  <a:cubicBezTo>
                    <a:pt x="1367464" y="614042"/>
                    <a:pt x="1061347" y="791146"/>
                    <a:pt x="683732" y="791146"/>
                  </a:cubicBezTo>
                  <a:cubicBezTo>
                    <a:pt x="306117" y="791146"/>
                    <a:pt x="0" y="614042"/>
                    <a:pt x="0" y="395573"/>
                  </a:cubicBezTo>
                  <a:cubicBezTo>
                    <a:pt x="0" y="177104"/>
                    <a:pt x="306117" y="0"/>
                    <a:pt x="683732" y="0"/>
                  </a:cubicBezTo>
                  <a:cubicBezTo>
                    <a:pt x="1061347" y="0"/>
                    <a:pt x="1367464" y="177104"/>
                    <a:pt x="1367464" y="395573"/>
                  </a:cubicBezTo>
                  <a:close/>
                </a:path>
              </a:pathLst>
            </a:custGeom>
            <a:solidFill>
              <a:srgbClr val="D6D8E5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15"/>
            <p:cNvSpPr/>
            <p:nvPr/>
          </p:nvSpPr>
          <p:spPr>
            <a:xfrm>
              <a:off x="2565006" y="2921600"/>
              <a:ext cx="762723" cy="441198"/>
            </a:xfrm>
            <a:custGeom>
              <a:avLst/>
              <a:gdLst/>
              <a:ahLst/>
              <a:cxnLst/>
              <a:rect l="l" t="t" r="r" b="b"/>
              <a:pathLst>
                <a:path w="762723" h="441198" extrusionOk="0">
                  <a:moveTo>
                    <a:pt x="762723" y="220599"/>
                  </a:moveTo>
                  <a:cubicBezTo>
                    <a:pt x="762723" y="342432"/>
                    <a:pt x="591982" y="441198"/>
                    <a:pt x="381362" y="441198"/>
                  </a:cubicBezTo>
                  <a:cubicBezTo>
                    <a:pt x="170741" y="441198"/>
                    <a:pt x="0" y="342432"/>
                    <a:pt x="0" y="220599"/>
                  </a:cubicBezTo>
                  <a:cubicBezTo>
                    <a:pt x="0" y="98765"/>
                    <a:pt x="170741" y="0"/>
                    <a:pt x="381362" y="0"/>
                  </a:cubicBezTo>
                  <a:cubicBezTo>
                    <a:pt x="591982" y="0"/>
                    <a:pt x="762723" y="98765"/>
                    <a:pt x="762723" y="220599"/>
                  </a:cubicBezTo>
                  <a:close/>
                </a:path>
              </a:pathLst>
            </a:custGeom>
            <a:solidFill>
              <a:srgbClr val="EDEFF9">
                <a:alpha val="4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15"/>
            <p:cNvSpPr/>
            <p:nvPr/>
          </p:nvSpPr>
          <p:spPr>
            <a:xfrm>
              <a:off x="2834012" y="3000943"/>
              <a:ext cx="217486" cy="125920"/>
            </a:xfrm>
            <a:custGeom>
              <a:avLst/>
              <a:gdLst/>
              <a:ahLst/>
              <a:cxnLst/>
              <a:rect l="l" t="t" r="r" b="b"/>
              <a:pathLst>
                <a:path w="217486" h="125920" extrusionOk="0">
                  <a:moveTo>
                    <a:pt x="217486" y="62960"/>
                  </a:moveTo>
                  <a:cubicBezTo>
                    <a:pt x="217486" y="97732"/>
                    <a:pt x="168800" y="125920"/>
                    <a:pt x="108743" y="125920"/>
                  </a:cubicBezTo>
                  <a:cubicBezTo>
                    <a:pt x="48686" y="125920"/>
                    <a:pt x="0" y="97732"/>
                    <a:pt x="0" y="62960"/>
                  </a:cubicBezTo>
                  <a:cubicBezTo>
                    <a:pt x="0" y="28188"/>
                    <a:pt x="48686" y="0"/>
                    <a:pt x="108743" y="0"/>
                  </a:cubicBezTo>
                  <a:cubicBezTo>
                    <a:pt x="168800" y="0"/>
                    <a:pt x="217486" y="28188"/>
                    <a:pt x="217486" y="62960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15"/>
            <p:cNvSpPr/>
            <p:nvPr/>
          </p:nvSpPr>
          <p:spPr>
            <a:xfrm>
              <a:off x="2841806" y="2229228"/>
              <a:ext cx="209121" cy="823531"/>
            </a:xfrm>
            <a:custGeom>
              <a:avLst/>
              <a:gdLst/>
              <a:ahLst/>
              <a:cxnLst/>
              <a:rect l="l" t="t" r="r" b="b"/>
              <a:pathLst>
                <a:path w="209121" h="823531" extrusionOk="0">
                  <a:moveTo>
                    <a:pt x="0" y="0"/>
                  </a:moveTo>
                  <a:lnTo>
                    <a:pt x="209121" y="0"/>
                  </a:lnTo>
                  <a:lnTo>
                    <a:pt x="209121" y="823532"/>
                  </a:lnTo>
                  <a:lnTo>
                    <a:pt x="0" y="823532"/>
                  </a:ln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15"/>
            <p:cNvSpPr/>
            <p:nvPr/>
          </p:nvSpPr>
          <p:spPr>
            <a:xfrm>
              <a:off x="2831826" y="2112223"/>
              <a:ext cx="249895" cy="580777"/>
            </a:xfrm>
            <a:custGeom>
              <a:avLst/>
              <a:gdLst/>
              <a:ahLst/>
              <a:cxnLst/>
              <a:rect l="l" t="t" r="r" b="b"/>
              <a:pathLst>
                <a:path w="249895" h="580777" extrusionOk="0">
                  <a:moveTo>
                    <a:pt x="0" y="107670"/>
                  </a:moveTo>
                  <a:cubicBezTo>
                    <a:pt x="0" y="107670"/>
                    <a:pt x="5703" y="277025"/>
                    <a:pt x="125948" y="580777"/>
                  </a:cubicBezTo>
                  <a:cubicBezTo>
                    <a:pt x="125948" y="580777"/>
                    <a:pt x="237923" y="336175"/>
                    <a:pt x="249520" y="102527"/>
                  </a:cubicBezTo>
                  <a:cubicBezTo>
                    <a:pt x="261117" y="-131122"/>
                    <a:pt x="0" y="107670"/>
                    <a:pt x="0" y="107670"/>
                  </a:cubicBez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15"/>
            <p:cNvSpPr/>
            <p:nvPr/>
          </p:nvSpPr>
          <p:spPr>
            <a:xfrm>
              <a:off x="2373659" y="1582290"/>
              <a:ext cx="397711" cy="625506"/>
            </a:xfrm>
            <a:custGeom>
              <a:avLst/>
              <a:gdLst/>
              <a:ahLst/>
              <a:cxnLst/>
              <a:rect l="l" t="t" r="r" b="b"/>
              <a:pathLst>
                <a:path w="397711" h="625506" extrusionOk="0">
                  <a:moveTo>
                    <a:pt x="311306" y="0"/>
                  </a:moveTo>
                  <a:lnTo>
                    <a:pt x="33079" y="271272"/>
                  </a:lnTo>
                  <a:lnTo>
                    <a:pt x="0" y="625507"/>
                  </a:lnTo>
                  <a:lnTo>
                    <a:pt x="336495" y="456438"/>
                  </a:lnTo>
                  <a:lnTo>
                    <a:pt x="397711" y="24384"/>
                  </a:lnTo>
                  <a:lnTo>
                    <a:pt x="3113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15"/>
            <p:cNvSpPr/>
            <p:nvPr/>
          </p:nvSpPr>
          <p:spPr>
            <a:xfrm>
              <a:off x="3144177" y="1582290"/>
              <a:ext cx="397710" cy="625506"/>
            </a:xfrm>
            <a:custGeom>
              <a:avLst/>
              <a:gdLst/>
              <a:ahLst/>
              <a:cxnLst/>
              <a:rect l="l" t="t" r="r" b="b"/>
              <a:pathLst>
                <a:path w="397710" h="625506" extrusionOk="0">
                  <a:moveTo>
                    <a:pt x="86405" y="0"/>
                  </a:moveTo>
                  <a:lnTo>
                    <a:pt x="364537" y="271272"/>
                  </a:lnTo>
                  <a:lnTo>
                    <a:pt x="397711" y="625507"/>
                  </a:lnTo>
                  <a:lnTo>
                    <a:pt x="59980" y="444722"/>
                  </a:lnTo>
                  <a:lnTo>
                    <a:pt x="0" y="24384"/>
                  </a:lnTo>
                  <a:lnTo>
                    <a:pt x="8640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" name="Google Shape;416;p15"/>
            <p:cNvSpPr/>
            <p:nvPr/>
          </p:nvSpPr>
          <p:spPr>
            <a:xfrm>
              <a:off x="2815951" y="2102641"/>
              <a:ext cx="276610" cy="160020"/>
            </a:xfrm>
            <a:custGeom>
              <a:avLst/>
              <a:gdLst/>
              <a:ahLst/>
              <a:cxnLst/>
              <a:rect l="l" t="t" r="r" b="b"/>
              <a:pathLst>
                <a:path w="276610" h="160020" extrusionOk="0">
                  <a:moveTo>
                    <a:pt x="276611" y="80010"/>
                  </a:moveTo>
                  <a:cubicBezTo>
                    <a:pt x="276611" y="124198"/>
                    <a:pt x="214689" y="160020"/>
                    <a:pt x="138305" y="160020"/>
                  </a:cubicBezTo>
                  <a:cubicBezTo>
                    <a:pt x="61921" y="160020"/>
                    <a:pt x="0" y="124198"/>
                    <a:pt x="0" y="80010"/>
                  </a:cubicBezTo>
                  <a:cubicBezTo>
                    <a:pt x="0" y="35822"/>
                    <a:pt x="61921" y="0"/>
                    <a:pt x="138305" y="0"/>
                  </a:cubicBezTo>
                  <a:cubicBezTo>
                    <a:pt x="214689" y="0"/>
                    <a:pt x="276611" y="35822"/>
                    <a:pt x="276611" y="80010"/>
                  </a:cubicBezTo>
                  <a:close/>
                </a:path>
              </a:pathLst>
            </a:custGeom>
            <a:solidFill>
              <a:srgbClr val="42495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7" name="Google Shape;417;p15"/>
            <p:cNvSpPr/>
            <p:nvPr/>
          </p:nvSpPr>
          <p:spPr>
            <a:xfrm>
              <a:off x="2744565" y="2030632"/>
              <a:ext cx="418908" cy="74675"/>
            </a:xfrm>
            <a:custGeom>
              <a:avLst/>
              <a:gdLst/>
              <a:ahLst/>
              <a:cxnLst/>
              <a:rect l="l" t="t" r="r" b="b"/>
              <a:pathLst>
                <a:path w="418908" h="74675" extrusionOk="0">
                  <a:moveTo>
                    <a:pt x="0" y="72009"/>
                  </a:moveTo>
                  <a:lnTo>
                    <a:pt x="0" y="0"/>
                  </a:lnTo>
                  <a:lnTo>
                    <a:pt x="418908" y="0"/>
                  </a:lnTo>
                  <a:lnTo>
                    <a:pt x="418908" y="74676"/>
                  </a:lnTo>
                  <a:lnTo>
                    <a:pt x="0" y="72009"/>
                  </a:lnTo>
                  <a:close/>
                </a:path>
              </a:pathLst>
            </a:custGeom>
            <a:solidFill>
              <a:srgbClr val="4949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15"/>
            <p:cNvSpPr/>
            <p:nvPr/>
          </p:nvSpPr>
          <p:spPr>
            <a:xfrm>
              <a:off x="2744565" y="1981197"/>
              <a:ext cx="419383" cy="242697"/>
            </a:xfrm>
            <a:custGeom>
              <a:avLst/>
              <a:gdLst/>
              <a:ahLst/>
              <a:cxnLst/>
              <a:rect l="l" t="t" r="r" b="b"/>
              <a:pathLst>
                <a:path w="419383" h="242697" extrusionOk="0">
                  <a:moveTo>
                    <a:pt x="419384" y="121348"/>
                  </a:moveTo>
                  <a:cubicBezTo>
                    <a:pt x="419384" y="188367"/>
                    <a:pt x="325501" y="242697"/>
                    <a:pt x="209692" y="242697"/>
                  </a:cubicBezTo>
                  <a:cubicBezTo>
                    <a:pt x="93882" y="242697"/>
                    <a:pt x="0" y="188367"/>
                    <a:pt x="0" y="121348"/>
                  </a:cubicBezTo>
                  <a:cubicBezTo>
                    <a:pt x="0" y="54330"/>
                    <a:pt x="93882" y="0"/>
                    <a:pt x="209692" y="0"/>
                  </a:cubicBezTo>
                  <a:cubicBezTo>
                    <a:pt x="325501" y="0"/>
                    <a:pt x="419384" y="54329"/>
                    <a:pt x="419384" y="12134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5"/>
            <p:cNvSpPr/>
            <p:nvPr/>
          </p:nvSpPr>
          <p:spPr>
            <a:xfrm>
              <a:off x="2697703" y="1845275"/>
              <a:ext cx="511777" cy="296036"/>
            </a:xfrm>
            <a:custGeom>
              <a:avLst/>
              <a:gdLst/>
              <a:ahLst/>
              <a:cxnLst/>
              <a:rect l="l" t="t" r="r" b="b"/>
              <a:pathLst>
                <a:path w="511777" h="296036" extrusionOk="0">
                  <a:moveTo>
                    <a:pt x="511777" y="148019"/>
                  </a:moveTo>
                  <a:cubicBezTo>
                    <a:pt x="511777" y="229767"/>
                    <a:pt x="397212" y="296037"/>
                    <a:pt x="255889" y="296037"/>
                  </a:cubicBezTo>
                  <a:cubicBezTo>
                    <a:pt x="114565" y="296037"/>
                    <a:pt x="0" y="229767"/>
                    <a:pt x="0" y="148019"/>
                  </a:cubicBezTo>
                  <a:cubicBezTo>
                    <a:pt x="0" y="66270"/>
                    <a:pt x="114565" y="0"/>
                    <a:pt x="255889" y="0"/>
                  </a:cubicBezTo>
                  <a:cubicBezTo>
                    <a:pt x="397212" y="0"/>
                    <a:pt x="511777" y="66270"/>
                    <a:pt x="511777" y="148019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" name="Google Shape;420;p15"/>
            <p:cNvSpPr/>
            <p:nvPr/>
          </p:nvSpPr>
          <p:spPr>
            <a:xfrm>
              <a:off x="2681484" y="530635"/>
              <a:ext cx="548516" cy="1538895"/>
            </a:xfrm>
            <a:custGeom>
              <a:avLst/>
              <a:gdLst/>
              <a:ahLst/>
              <a:cxnLst/>
              <a:rect l="l" t="t" r="r" b="b"/>
              <a:pathLst>
                <a:path w="548516" h="1538895" extrusionOk="0">
                  <a:moveTo>
                    <a:pt x="548433" y="1199007"/>
                  </a:moveTo>
                  <a:lnTo>
                    <a:pt x="548433" y="1199007"/>
                  </a:lnTo>
                  <a:cubicBezTo>
                    <a:pt x="548433" y="1210913"/>
                    <a:pt x="548433" y="1222629"/>
                    <a:pt x="548433" y="1233964"/>
                  </a:cubicBezTo>
                  <a:cubicBezTo>
                    <a:pt x="548433" y="1243489"/>
                    <a:pt x="548433" y="1253014"/>
                    <a:pt x="548433" y="1262539"/>
                  </a:cubicBezTo>
                  <a:cubicBezTo>
                    <a:pt x="548433" y="1275398"/>
                    <a:pt x="547767" y="1287685"/>
                    <a:pt x="547292" y="1299686"/>
                  </a:cubicBezTo>
                  <a:cubicBezTo>
                    <a:pt x="547292" y="1314641"/>
                    <a:pt x="546246" y="1328833"/>
                    <a:pt x="545486" y="1342454"/>
                  </a:cubicBezTo>
                  <a:cubicBezTo>
                    <a:pt x="544725" y="1356074"/>
                    <a:pt x="544060" y="1369409"/>
                    <a:pt x="543109" y="1381697"/>
                  </a:cubicBezTo>
                  <a:cubicBezTo>
                    <a:pt x="539212" y="1435513"/>
                    <a:pt x="539307" y="1475137"/>
                    <a:pt x="532653" y="1490662"/>
                  </a:cubicBezTo>
                  <a:cubicBezTo>
                    <a:pt x="496437" y="1575530"/>
                    <a:pt x="373911" y="1528762"/>
                    <a:pt x="313456" y="1498283"/>
                  </a:cubicBezTo>
                  <a:cubicBezTo>
                    <a:pt x="291118" y="1487043"/>
                    <a:pt x="276384" y="1477804"/>
                    <a:pt x="276384" y="1477804"/>
                  </a:cubicBezTo>
                  <a:lnTo>
                    <a:pt x="270871" y="1477804"/>
                  </a:lnTo>
                  <a:cubicBezTo>
                    <a:pt x="270871" y="1477804"/>
                    <a:pt x="253381" y="1487329"/>
                    <a:pt x="227526" y="1497616"/>
                  </a:cubicBezTo>
                  <a:cubicBezTo>
                    <a:pt x="164124" y="1523333"/>
                    <a:pt x="51104" y="1568958"/>
                    <a:pt x="19735" y="1490377"/>
                  </a:cubicBezTo>
                  <a:cubicBezTo>
                    <a:pt x="14127" y="1476280"/>
                    <a:pt x="8519" y="1429703"/>
                    <a:pt x="5097" y="1380935"/>
                  </a:cubicBezTo>
                  <a:cubicBezTo>
                    <a:pt x="4241" y="1368743"/>
                    <a:pt x="3481" y="1355693"/>
                    <a:pt x="2721" y="1341787"/>
                  </a:cubicBezTo>
                  <a:cubicBezTo>
                    <a:pt x="1960" y="1327880"/>
                    <a:pt x="1580" y="1314069"/>
                    <a:pt x="1010" y="1299115"/>
                  </a:cubicBezTo>
                  <a:cubicBezTo>
                    <a:pt x="1010" y="1287208"/>
                    <a:pt x="344" y="1274921"/>
                    <a:pt x="59" y="1262158"/>
                  </a:cubicBezTo>
                  <a:cubicBezTo>
                    <a:pt x="59" y="1252633"/>
                    <a:pt x="59" y="1243108"/>
                    <a:pt x="59" y="1233583"/>
                  </a:cubicBezTo>
                  <a:lnTo>
                    <a:pt x="59" y="1233583"/>
                  </a:lnTo>
                  <a:lnTo>
                    <a:pt x="59" y="1198626"/>
                  </a:lnTo>
                  <a:lnTo>
                    <a:pt x="59" y="1198626"/>
                  </a:lnTo>
                  <a:cubicBezTo>
                    <a:pt x="-1652" y="866299"/>
                    <a:pt x="33518" y="334899"/>
                    <a:pt x="149676" y="108109"/>
                  </a:cubicBezTo>
                  <a:cubicBezTo>
                    <a:pt x="183230" y="42481"/>
                    <a:pt x="223534" y="2381"/>
                    <a:pt x="271727" y="0"/>
                  </a:cubicBezTo>
                  <a:lnTo>
                    <a:pt x="271727" y="0"/>
                  </a:lnTo>
                  <a:lnTo>
                    <a:pt x="277240" y="0"/>
                  </a:lnTo>
                  <a:lnTo>
                    <a:pt x="277240" y="0"/>
                  </a:lnTo>
                  <a:cubicBezTo>
                    <a:pt x="324768" y="2476"/>
                    <a:pt x="365546" y="42386"/>
                    <a:pt x="399196" y="107728"/>
                  </a:cubicBezTo>
                  <a:cubicBezTo>
                    <a:pt x="513737" y="333661"/>
                    <a:pt x="550524" y="862965"/>
                    <a:pt x="548433" y="1199007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15"/>
            <p:cNvSpPr/>
            <p:nvPr/>
          </p:nvSpPr>
          <p:spPr>
            <a:xfrm>
              <a:off x="2858251" y="1222531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9"/>
                    <a:pt x="96671" y="193739"/>
                  </a:cubicBezTo>
                  <a:cubicBezTo>
                    <a:pt x="43281" y="193739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5"/>
            <p:cNvSpPr/>
            <p:nvPr/>
          </p:nvSpPr>
          <p:spPr>
            <a:xfrm>
              <a:off x="2844088" y="1208338"/>
              <a:ext cx="221668" cy="222122"/>
            </a:xfrm>
            <a:custGeom>
              <a:avLst/>
              <a:gdLst/>
              <a:ahLst/>
              <a:cxnLst/>
              <a:rect l="l" t="t" r="r" b="b"/>
              <a:pathLst>
                <a:path w="221668" h="222122" extrusionOk="0">
                  <a:moveTo>
                    <a:pt x="110834" y="222123"/>
                  </a:moveTo>
                  <a:cubicBezTo>
                    <a:pt x="49623" y="222123"/>
                    <a:pt x="0" y="172402"/>
                    <a:pt x="0" y="111061"/>
                  </a:cubicBezTo>
                  <a:cubicBezTo>
                    <a:pt x="0" y="49720"/>
                    <a:pt x="49623" y="0"/>
                    <a:pt x="110834" y="0"/>
                  </a:cubicBezTo>
                  <a:cubicBezTo>
                    <a:pt x="172046" y="0"/>
                    <a:pt x="221669" y="49720"/>
                    <a:pt x="221669" y="111061"/>
                  </a:cubicBezTo>
                  <a:cubicBezTo>
                    <a:pt x="221617" y="172374"/>
                    <a:pt x="172025" y="222066"/>
                    <a:pt x="110834" y="222123"/>
                  </a:cubicBezTo>
                  <a:close/>
                  <a:moveTo>
                    <a:pt x="110834" y="28384"/>
                  </a:moveTo>
                  <a:cubicBezTo>
                    <a:pt x="65267" y="28327"/>
                    <a:pt x="28284" y="65303"/>
                    <a:pt x="28231" y="110966"/>
                  </a:cubicBezTo>
                  <a:cubicBezTo>
                    <a:pt x="28179" y="156629"/>
                    <a:pt x="65077" y="193681"/>
                    <a:pt x="110644" y="193738"/>
                  </a:cubicBezTo>
                  <a:cubicBezTo>
                    <a:pt x="156212" y="193796"/>
                    <a:pt x="193195" y="156820"/>
                    <a:pt x="193247" y="111157"/>
                  </a:cubicBezTo>
                  <a:cubicBezTo>
                    <a:pt x="193247" y="111128"/>
                    <a:pt x="193247" y="111090"/>
                    <a:pt x="193247" y="111061"/>
                  </a:cubicBezTo>
                  <a:cubicBezTo>
                    <a:pt x="193195" y="65456"/>
                    <a:pt x="156343" y="28489"/>
                    <a:pt x="110834" y="28384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15"/>
            <p:cNvSpPr/>
            <p:nvPr/>
          </p:nvSpPr>
          <p:spPr>
            <a:xfrm>
              <a:off x="2858251" y="937733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8"/>
                    <a:pt x="96671" y="193738"/>
                  </a:cubicBezTo>
                  <a:cubicBezTo>
                    <a:pt x="43281" y="193738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Google Shape;424;p15"/>
            <p:cNvSpPr/>
            <p:nvPr/>
          </p:nvSpPr>
          <p:spPr>
            <a:xfrm>
              <a:off x="2843898" y="923636"/>
              <a:ext cx="221858" cy="222313"/>
            </a:xfrm>
            <a:custGeom>
              <a:avLst/>
              <a:gdLst/>
              <a:ahLst/>
              <a:cxnLst/>
              <a:rect l="l" t="t" r="r" b="b"/>
              <a:pathLst>
                <a:path w="221858" h="222313" extrusionOk="0">
                  <a:moveTo>
                    <a:pt x="111025" y="222314"/>
                  </a:moveTo>
                  <a:cubicBezTo>
                    <a:pt x="49760" y="222371"/>
                    <a:pt x="52" y="172641"/>
                    <a:pt x="0" y="111252"/>
                  </a:cubicBezTo>
                  <a:cubicBezTo>
                    <a:pt x="-52" y="49861"/>
                    <a:pt x="49570" y="52"/>
                    <a:pt x="110834" y="0"/>
                  </a:cubicBezTo>
                  <a:cubicBezTo>
                    <a:pt x="172062" y="-52"/>
                    <a:pt x="221754" y="49614"/>
                    <a:pt x="221859" y="110966"/>
                  </a:cubicBezTo>
                  <a:cubicBezTo>
                    <a:pt x="221911" y="172374"/>
                    <a:pt x="172305" y="222209"/>
                    <a:pt x="111025" y="222314"/>
                  </a:cubicBezTo>
                  <a:close/>
                  <a:moveTo>
                    <a:pt x="111025" y="28575"/>
                  </a:moveTo>
                  <a:cubicBezTo>
                    <a:pt x="65457" y="28523"/>
                    <a:pt x="28474" y="65496"/>
                    <a:pt x="28422" y="111157"/>
                  </a:cubicBezTo>
                  <a:cubicBezTo>
                    <a:pt x="28369" y="156820"/>
                    <a:pt x="65267" y="193872"/>
                    <a:pt x="110834" y="193929"/>
                  </a:cubicBezTo>
                  <a:cubicBezTo>
                    <a:pt x="156402" y="193986"/>
                    <a:pt x="193385" y="157010"/>
                    <a:pt x="193437" y="111347"/>
                  </a:cubicBezTo>
                  <a:cubicBezTo>
                    <a:pt x="193437" y="111283"/>
                    <a:pt x="193437" y="111221"/>
                    <a:pt x="193437" y="111157"/>
                  </a:cubicBezTo>
                  <a:cubicBezTo>
                    <a:pt x="193490" y="65496"/>
                    <a:pt x="156592" y="28437"/>
                    <a:pt x="111025" y="28385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5"/>
            <p:cNvSpPr/>
            <p:nvPr/>
          </p:nvSpPr>
          <p:spPr>
            <a:xfrm>
              <a:off x="2680593" y="1921189"/>
              <a:ext cx="549324" cy="167997"/>
            </a:xfrm>
            <a:custGeom>
              <a:avLst/>
              <a:gdLst/>
              <a:ahLst/>
              <a:cxnLst/>
              <a:rect l="l" t="t" r="r" b="b"/>
              <a:pathLst>
                <a:path w="549324" h="167997" extrusionOk="0">
                  <a:moveTo>
                    <a:pt x="549324" y="0"/>
                  </a:moveTo>
                  <a:cubicBezTo>
                    <a:pt x="549324" y="11906"/>
                    <a:pt x="549324" y="23622"/>
                    <a:pt x="549324" y="35052"/>
                  </a:cubicBezTo>
                  <a:cubicBezTo>
                    <a:pt x="539819" y="66484"/>
                    <a:pt x="513964" y="96583"/>
                    <a:pt x="471949" y="120777"/>
                  </a:cubicBezTo>
                  <a:cubicBezTo>
                    <a:pt x="363016" y="183737"/>
                    <a:pt x="186784" y="183737"/>
                    <a:pt x="77375" y="120777"/>
                  </a:cubicBezTo>
                  <a:cubicBezTo>
                    <a:pt x="35361" y="96393"/>
                    <a:pt x="9601" y="66199"/>
                    <a:pt x="0" y="35052"/>
                  </a:cubicBezTo>
                  <a:lnTo>
                    <a:pt x="0" y="35052"/>
                  </a:lnTo>
                  <a:lnTo>
                    <a:pt x="0" y="95"/>
                  </a:lnTo>
                  <a:cubicBezTo>
                    <a:pt x="9506" y="32099"/>
                    <a:pt x="35170" y="62579"/>
                    <a:pt x="77755" y="87249"/>
                  </a:cubicBezTo>
                  <a:cubicBezTo>
                    <a:pt x="186784" y="150209"/>
                    <a:pt x="363396" y="150209"/>
                    <a:pt x="472329" y="87249"/>
                  </a:cubicBezTo>
                  <a:cubicBezTo>
                    <a:pt x="514059" y="62293"/>
                    <a:pt x="540484" y="31909"/>
                    <a:pt x="5493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15"/>
            <p:cNvSpPr/>
            <p:nvPr/>
          </p:nvSpPr>
          <p:spPr>
            <a:xfrm>
              <a:off x="2680308" y="1976244"/>
              <a:ext cx="548753" cy="165782"/>
            </a:xfrm>
            <a:custGeom>
              <a:avLst/>
              <a:gdLst/>
              <a:ahLst/>
              <a:cxnLst/>
              <a:rect l="l" t="t" r="r" b="b"/>
              <a:pathLst>
                <a:path w="548753" h="165782" extrusionOk="0">
                  <a:moveTo>
                    <a:pt x="548754" y="381"/>
                  </a:moveTo>
                  <a:cubicBezTo>
                    <a:pt x="548754" y="13145"/>
                    <a:pt x="548088" y="25527"/>
                    <a:pt x="547613" y="37433"/>
                  </a:cubicBezTo>
                  <a:cubicBezTo>
                    <a:pt x="536967" y="67151"/>
                    <a:pt x="511682" y="95441"/>
                    <a:pt x="471569" y="118491"/>
                  </a:cubicBezTo>
                  <a:cubicBezTo>
                    <a:pt x="362636" y="181546"/>
                    <a:pt x="186403" y="181546"/>
                    <a:pt x="76995" y="118491"/>
                  </a:cubicBezTo>
                  <a:cubicBezTo>
                    <a:pt x="36976" y="95250"/>
                    <a:pt x="11692" y="66770"/>
                    <a:pt x="951" y="36862"/>
                  </a:cubicBezTo>
                  <a:cubicBezTo>
                    <a:pt x="951" y="24955"/>
                    <a:pt x="285" y="12668"/>
                    <a:pt x="0" y="0"/>
                  </a:cubicBezTo>
                  <a:cubicBezTo>
                    <a:pt x="9506" y="31051"/>
                    <a:pt x="35456" y="60579"/>
                    <a:pt x="76900" y="84582"/>
                  </a:cubicBezTo>
                  <a:cubicBezTo>
                    <a:pt x="185928" y="147638"/>
                    <a:pt x="362541" y="147638"/>
                    <a:pt x="471474" y="84582"/>
                  </a:cubicBezTo>
                  <a:cubicBezTo>
                    <a:pt x="513108" y="60674"/>
                    <a:pt x="538773" y="31242"/>
                    <a:pt x="548754" y="3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15"/>
            <p:cNvSpPr/>
            <p:nvPr/>
          </p:nvSpPr>
          <p:spPr>
            <a:xfrm>
              <a:off x="2683349" y="1877470"/>
              <a:ext cx="542765" cy="158087"/>
            </a:xfrm>
            <a:custGeom>
              <a:avLst/>
              <a:gdLst/>
              <a:ahLst/>
              <a:cxnLst/>
              <a:rect l="l" t="t" r="r" b="b"/>
              <a:pathLst>
                <a:path w="542765" h="158087" extrusionOk="0">
                  <a:moveTo>
                    <a:pt x="542765" y="762"/>
                  </a:moveTo>
                  <a:cubicBezTo>
                    <a:pt x="531264" y="28670"/>
                    <a:pt x="506549" y="55245"/>
                    <a:pt x="468812" y="76962"/>
                  </a:cubicBezTo>
                  <a:cubicBezTo>
                    <a:pt x="359879" y="139922"/>
                    <a:pt x="183647" y="139922"/>
                    <a:pt x="74238" y="76962"/>
                  </a:cubicBezTo>
                  <a:cubicBezTo>
                    <a:pt x="36216" y="54864"/>
                    <a:pt x="11502" y="28194"/>
                    <a:pt x="0" y="0"/>
                  </a:cubicBezTo>
                  <a:cubicBezTo>
                    <a:pt x="760" y="13906"/>
                    <a:pt x="1521" y="26956"/>
                    <a:pt x="2376" y="39148"/>
                  </a:cubicBezTo>
                  <a:cubicBezTo>
                    <a:pt x="14639" y="65437"/>
                    <a:pt x="38592" y="90202"/>
                    <a:pt x="74238" y="110871"/>
                  </a:cubicBezTo>
                  <a:cubicBezTo>
                    <a:pt x="120732" y="136255"/>
                    <a:pt x="172028" y="151571"/>
                    <a:pt x="224806" y="155829"/>
                  </a:cubicBezTo>
                  <a:cubicBezTo>
                    <a:pt x="253246" y="158601"/>
                    <a:pt x="281876" y="158820"/>
                    <a:pt x="310355" y="156496"/>
                  </a:cubicBezTo>
                  <a:cubicBezTo>
                    <a:pt x="365732" y="152991"/>
                    <a:pt x="419677" y="137417"/>
                    <a:pt x="468432" y="110871"/>
                  </a:cubicBezTo>
                  <a:cubicBezTo>
                    <a:pt x="503793" y="90392"/>
                    <a:pt x="527652" y="65913"/>
                    <a:pt x="540009" y="399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5"/>
            <p:cNvSpPr/>
            <p:nvPr/>
          </p:nvSpPr>
          <p:spPr>
            <a:xfrm>
              <a:off x="2829449" y="530444"/>
              <a:ext cx="249519" cy="126863"/>
            </a:xfrm>
            <a:custGeom>
              <a:avLst/>
              <a:gdLst/>
              <a:ahLst/>
              <a:cxnLst/>
              <a:rect l="l" t="t" r="r" b="b"/>
              <a:pathLst>
                <a:path w="249519" h="126863" extrusionOk="0">
                  <a:moveTo>
                    <a:pt x="249520" y="108109"/>
                  </a:moveTo>
                  <a:cubicBezTo>
                    <a:pt x="168218" y="133115"/>
                    <a:pt x="81302" y="133115"/>
                    <a:pt x="0" y="108109"/>
                  </a:cubicBezTo>
                  <a:cubicBezTo>
                    <a:pt x="33555" y="42481"/>
                    <a:pt x="73858" y="2381"/>
                    <a:pt x="122051" y="0"/>
                  </a:cubicBezTo>
                  <a:lnTo>
                    <a:pt x="122051" y="0"/>
                  </a:lnTo>
                  <a:lnTo>
                    <a:pt x="127564" y="0"/>
                  </a:lnTo>
                  <a:lnTo>
                    <a:pt x="127564" y="0"/>
                  </a:lnTo>
                  <a:cubicBezTo>
                    <a:pt x="175567" y="2857"/>
                    <a:pt x="215870" y="42767"/>
                    <a:pt x="249520" y="108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15"/>
            <p:cNvSpPr/>
            <p:nvPr/>
          </p:nvSpPr>
          <p:spPr>
            <a:xfrm>
              <a:off x="2934010" y="1583052"/>
              <a:ext cx="47432" cy="623982"/>
            </a:xfrm>
            <a:custGeom>
              <a:avLst/>
              <a:gdLst/>
              <a:ahLst/>
              <a:cxnLst/>
              <a:rect l="l" t="t" r="r" b="b"/>
              <a:pathLst>
                <a:path w="47432" h="623982" extrusionOk="0">
                  <a:moveTo>
                    <a:pt x="0" y="0"/>
                  </a:moveTo>
                  <a:lnTo>
                    <a:pt x="47433" y="0"/>
                  </a:lnTo>
                  <a:lnTo>
                    <a:pt x="47433" y="623983"/>
                  </a:lnTo>
                  <a:lnTo>
                    <a:pt x="0" y="6239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30" name="Google Shape;430;p15"/>
            <p:cNvGrpSpPr/>
            <p:nvPr/>
          </p:nvGrpSpPr>
          <p:grpSpPr>
            <a:xfrm>
              <a:off x="4031993" y="117216"/>
              <a:ext cx="2889297" cy="3901793"/>
              <a:chOff x="5533368" y="1047716"/>
              <a:chExt cx="2889297" cy="3901793"/>
            </a:xfrm>
          </p:grpSpPr>
          <p:sp>
            <p:nvSpPr>
              <p:cNvPr id="431" name="Google Shape;431;p15"/>
              <p:cNvSpPr/>
              <p:nvPr/>
            </p:nvSpPr>
            <p:spPr>
              <a:xfrm>
                <a:off x="6153722" y="4072604"/>
                <a:ext cx="1090544" cy="630910"/>
              </a:xfrm>
              <a:custGeom>
                <a:avLst/>
                <a:gdLst/>
                <a:ahLst/>
                <a:cxnLst/>
                <a:rect l="l" t="t" r="r" b="b"/>
                <a:pathLst>
                  <a:path w="1090544" h="630910" extrusionOk="0">
                    <a:moveTo>
                      <a:pt x="578197" y="615410"/>
                    </a:moveTo>
                    <a:lnTo>
                      <a:pt x="26877" y="296418"/>
                    </a:lnTo>
                    <a:cubicBezTo>
                      <a:pt x="-12951" y="273367"/>
                      <a:pt x="-7913" y="233172"/>
                      <a:pt x="37998" y="206597"/>
                    </a:cubicBezTo>
                    <a:lnTo>
                      <a:pt x="395216" y="0"/>
                    </a:lnTo>
                    <a:lnTo>
                      <a:pt x="1090545" y="402241"/>
                    </a:lnTo>
                    <a:lnTo>
                      <a:pt x="733327" y="608933"/>
                    </a:lnTo>
                    <a:cubicBezTo>
                      <a:pt x="687320" y="635508"/>
                      <a:pt x="617930" y="638365"/>
                      <a:pt x="578197" y="61541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15"/>
              <p:cNvSpPr/>
              <p:nvPr/>
            </p:nvSpPr>
            <p:spPr>
              <a:xfrm>
                <a:off x="6193969" y="4048886"/>
                <a:ext cx="1090601" cy="630901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01" extrusionOk="0">
                    <a:moveTo>
                      <a:pt x="578158" y="615410"/>
                    </a:moveTo>
                    <a:lnTo>
                      <a:pt x="26838" y="296323"/>
                    </a:lnTo>
                    <a:cubicBezTo>
                      <a:pt x="-12895" y="273368"/>
                      <a:pt x="-7952" y="233172"/>
                      <a:pt x="37960" y="206597"/>
                    </a:cubicBezTo>
                    <a:lnTo>
                      <a:pt x="395272" y="0"/>
                    </a:lnTo>
                    <a:lnTo>
                      <a:pt x="1090601" y="402241"/>
                    </a:lnTo>
                    <a:lnTo>
                      <a:pt x="733764" y="608838"/>
                    </a:lnTo>
                    <a:cubicBezTo>
                      <a:pt x="687377" y="635508"/>
                      <a:pt x="617891" y="638366"/>
                      <a:pt x="578158" y="61541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15"/>
              <p:cNvSpPr/>
              <p:nvPr/>
            </p:nvSpPr>
            <p:spPr>
              <a:xfrm>
                <a:off x="7252346" y="4430077"/>
                <a:ext cx="32128" cy="21050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21050" extrusionOk="0">
                    <a:moveTo>
                      <a:pt x="32129" y="21050"/>
                    </a:moveTo>
                    <a:lnTo>
                      <a:pt x="32129" y="0"/>
                    </a:lnTo>
                    <a:lnTo>
                      <a:pt x="0" y="18574"/>
                    </a:lnTo>
                    <a:lnTo>
                      <a:pt x="32129" y="2105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15"/>
              <p:cNvSpPr/>
              <p:nvPr/>
            </p:nvSpPr>
            <p:spPr>
              <a:xfrm>
                <a:off x="6193906" y="4285773"/>
                <a:ext cx="32984" cy="21431"/>
              </a:xfrm>
              <a:custGeom>
                <a:avLst/>
                <a:gdLst/>
                <a:ahLst/>
                <a:cxnLst/>
                <a:rect l="l" t="t" r="r" b="b"/>
                <a:pathLst>
                  <a:path w="32984" h="21431" extrusionOk="0">
                    <a:moveTo>
                      <a:pt x="0" y="21431"/>
                    </a:moveTo>
                    <a:lnTo>
                      <a:pt x="0" y="0"/>
                    </a:lnTo>
                    <a:lnTo>
                      <a:pt x="32984" y="13716"/>
                    </a:lnTo>
                    <a:lnTo>
                      <a:pt x="0" y="214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15"/>
              <p:cNvSpPr/>
              <p:nvPr/>
            </p:nvSpPr>
            <p:spPr>
              <a:xfrm>
                <a:off x="6193969" y="4027741"/>
                <a:ext cx="1090601" cy="630949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49" extrusionOk="0">
                    <a:moveTo>
                      <a:pt x="578158" y="615410"/>
                    </a:moveTo>
                    <a:lnTo>
                      <a:pt x="26838" y="296418"/>
                    </a:lnTo>
                    <a:cubicBezTo>
                      <a:pt x="-12895" y="273368"/>
                      <a:pt x="-7952" y="233267"/>
                      <a:pt x="37960" y="206693"/>
                    </a:cubicBezTo>
                    <a:lnTo>
                      <a:pt x="395272" y="0"/>
                    </a:lnTo>
                    <a:lnTo>
                      <a:pt x="1090601" y="402336"/>
                    </a:lnTo>
                    <a:lnTo>
                      <a:pt x="733764" y="608934"/>
                    </a:lnTo>
                    <a:cubicBezTo>
                      <a:pt x="687377" y="635508"/>
                      <a:pt x="617891" y="638461"/>
                      <a:pt x="578158" y="615410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15"/>
              <p:cNvSpPr/>
              <p:nvPr/>
            </p:nvSpPr>
            <p:spPr>
              <a:xfrm>
                <a:off x="6504927" y="3742563"/>
                <a:ext cx="779547" cy="687514"/>
              </a:xfrm>
              <a:custGeom>
                <a:avLst/>
                <a:gdLst/>
                <a:ahLst/>
                <a:cxnLst/>
                <a:rect l="l" t="t" r="r" b="b"/>
                <a:pathLst>
                  <a:path w="779547" h="687514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0"/>
                    </a:lnTo>
                    <a:lnTo>
                      <a:pt x="779548" y="687514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15"/>
              <p:cNvSpPr/>
              <p:nvPr/>
            </p:nvSpPr>
            <p:spPr>
              <a:xfrm>
                <a:off x="7254152" y="4405788"/>
                <a:ext cx="30322" cy="36004"/>
              </a:xfrm>
              <a:custGeom>
                <a:avLst/>
                <a:gdLst/>
                <a:ahLst/>
                <a:cxnLst/>
                <a:rect l="l" t="t" r="r" b="b"/>
                <a:pathLst>
                  <a:path w="30322" h="36004" extrusionOk="0">
                    <a:moveTo>
                      <a:pt x="9981" y="36004"/>
                    </a:moveTo>
                    <a:lnTo>
                      <a:pt x="30323" y="242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15"/>
              <p:cNvSpPr/>
              <p:nvPr/>
            </p:nvSpPr>
            <p:spPr>
              <a:xfrm>
                <a:off x="6482779" y="3753326"/>
                <a:ext cx="781258" cy="688466"/>
              </a:xfrm>
              <a:custGeom>
                <a:avLst/>
                <a:gdLst/>
                <a:ahLst/>
                <a:cxnLst/>
                <a:rect l="l" t="t" r="r" b="b"/>
                <a:pathLst>
                  <a:path w="781258" h="688466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1"/>
                    </a:lnTo>
                    <a:lnTo>
                      <a:pt x="781259" y="688467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15"/>
              <p:cNvSpPr/>
              <p:nvPr/>
            </p:nvSpPr>
            <p:spPr>
              <a:xfrm>
                <a:off x="5563120" y="1047716"/>
                <a:ext cx="2859545" cy="3884751"/>
              </a:xfrm>
              <a:custGeom>
                <a:avLst/>
                <a:gdLst/>
                <a:ahLst/>
                <a:cxnLst/>
                <a:rect l="l" t="t" r="r" b="b"/>
                <a:pathLst>
                  <a:path w="2859545" h="3884751" extrusionOk="0">
                    <a:moveTo>
                      <a:pt x="2790441" y="3876709"/>
                    </a:moveTo>
                    <a:lnTo>
                      <a:pt x="69105" y="2302131"/>
                    </a:lnTo>
                    <a:cubicBezTo>
                      <a:pt x="31083" y="2280033"/>
                      <a:pt x="0" y="2220787"/>
                      <a:pt x="0" y="2169829"/>
                    </a:cubicBezTo>
                    <a:lnTo>
                      <a:pt x="0" y="60708"/>
                    </a:lnTo>
                    <a:cubicBezTo>
                      <a:pt x="0" y="9654"/>
                      <a:pt x="30988" y="-13778"/>
                      <a:pt x="69105" y="8320"/>
                    </a:cubicBezTo>
                    <a:lnTo>
                      <a:pt x="2790441" y="1582517"/>
                    </a:lnTo>
                    <a:cubicBezTo>
                      <a:pt x="2828463" y="1604615"/>
                      <a:pt x="2859546" y="1663861"/>
                      <a:pt x="2859546" y="1714819"/>
                    </a:cubicBezTo>
                    <a:lnTo>
                      <a:pt x="2859546" y="3823940"/>
                    </a:lnTo>
                    <a:cubicBezTo>
                      <a:pt x="2859261" y="3874899"/>
                      <a:pt x="2828463" y="3898330"/>
                      <a:pt x="2790441" y="3876709"/>
                    </a:cubicBez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15"/>
              <p:cNvSpPr/>
              <p:nvPr/>
            </p:nvSpPr>
            <p:spPr>
              <a:xfrm>
                <a:off x="8367249" y="4838795"/>
                <a:ext cx="30132" cy="106965"/>
              </a:xfrm>
              <a:custGeom>
                <a:avLst/>
                <a:gdLst/>
                <a:ahLst/>
                <a:cxnLst/>
                <a:rect l="l" t="t" r="r" b="b"/>
                <a:pathLst>
                  <a:path w="30132" h="106965" extrusionOk="0">
                    <a:moveTo>
                      <a:pt x="0" y="106966"/>
                    </a:moveTo>
                    <a:lnTo>
                      <a:pt x="30132" y="89535"/>
                    </a:lnTo>
                    <a:lnTo>
                      <a:pt x="17110" y="0"/>
                    </a:lnTo>
                    <a:lnTo>
                      <a:pt x="0" y="106966"/>
                    </a:ln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15"/>
              <p:cNvSpPr/>
              <p:nvPr/>
            </p:nvSpPr>
            <p:spPr>
              <a:xfrm>
                <a:off x="5558272" y="1051845"/>
                <a:ext cx="72337" cy="31155"/>
              </a:xfrm>
              <a:custGeom>
                <a:avLst/>
                <a:gdLst/>
                <a:ahLst/>
                <a:cxnLst/>
                <a:rect l="l" t="t" r="r" b="b"/>
                <a:pathLst>
                  <a:path w="72337" h="31155" extrusionOk="0">
                    <a:moveTo>
                      <a:pt x="0" y="17240"/>
                    </a:moveTo>
                    <a:lnTo>
                      <a:pt x="29657" y="0"/>
                    </a:lnTo>
                    <a:lnTo>
                      <a:pt x="72337" y="24479"/>
                    </a:lnTo>
                    <a:cubicBezTo>
                      <a:pt x="72337" y="24479"/>
                      <a:pt x="26901" y="31433"/>
                      <a:pt x="25760" y="31147"/>
                    </a:cubicBezTo>
                    <a:cubicBezTo>
                      <a:pt x="24619" y="30861"/>
                      <a:pt x="0" y="17240"/>
                      <a:pt x="0" y="1724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15"/>
              <p:cNvSpPr/>
              <p:nvPr/>
            </p:nvSpPr>
            <p:spPr>
              <a:xfrm>
                <a:off x="5538216" y="1062192"/>
                <a:ext cx="2859165" cy="3884558"/>
              </a:xfrm>
              <a:custGeom>
                <a:avLst/>
                <a:gdLst/>
                <a:ahLst/>
                <a:cxnLst/>
                <a:rect l="l" t="t" r="r" b="b"/>
                <a:pathLst>
                  <a:path w="2859165" h="3884558" extrusionOk="0">
                    <a:moveTo>
                      <a:pt x="2790061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789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893" y="-13776"/>
                      <a:pt x="69105" y="8322"/>
                    </a:cubicBezTo>
                    <a:lnTo>
                      <a:pt x="2790061" y="1582519"/>
                    </a:lnTo>
                    <a:cubicBezTo>
                      <a:pt x="2828083" y="1604617"/>
                      <a:pt x="2859166" y="1663862"/>
                      <a:pt x="2859166" y="1714821"/>
                    </a:cubicBezTo>
                    <a:lnTo>
                      <a:pt x="2859166" y="3824132"/>
                    </a:lnTo>
                    <a:cubicBezTo>
                      <a:pt x="2859166" y="3874900"/>
                      <a:pt x="2828273" y="3898332"/>
                      <a:pt x="2790061" y="3876234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15"/>
              <p:cNvSpPr/>
              <p:nvPr/>
            </p:nvSpPr>
            <p:spPr>
              <a:xfrm>
                <a:off x="5533368" y="1064955"/>
                <a:ext cx="2859260" cy="3884554"/>
              </a:xfrm>
              <a:custGeom>
                <a:avLst/>
                <a:gdLst/>
                <a:ahLst/>
                <a:cxnLst/>
                <a:rect l="l" t="t" r="r" b="b"/>
                <a:pathLst>
                  <a:path w="2859260" h="3884554" extrusionOk="0">
                    <a:moveTo>
                      <a:pt x="2790156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694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988" y="-13776"/>
                      <a:pt x="69105" y="8322"/>
                    </a:cubicBezTo>
                    <a:lnTo>
                      <a:pt x="2790156" y="1582995"/>
                    </a:lnTo>
                    <a:cubicBezTo>
                      <a:pt x="2828178" y="1604998"/>
                      <a:pt x="2859261" y="1664243"/>
                      <a:pt x="2859261" y="1715297"/>
                    </a:cubicBezTo>
                    <a:lnTo>
                      <a:pt x="2859261" y="3823847"/>
                    </a:lnTo>
                    <a:cubicBezTo>
                      <a:pt x="2859261" y="3874900"/>
                      <a:pt x="2828273" y="3898332"/>
                      <a:pt x="2790156" y="38762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44;p15"/>
              <p:cNvSpPr/>
              <p:nvPr/>
            </p:nvSpPr>
            <p:spPr>
              <a:xfrm>
                <a:off x="5568443" y="1110406"/>
                <a:ext cx="2788159" cy="3702480"/>
              </a:xfrm>
              <a:custGeom>
                <a:avLst/>
                <a:gdLst/>
                <a:ahLst/>
                <a:cxnLst/>
                <a:rect l="l" t="t" r="r" b="b"/>
                <a:pathLst>
                  <a:path w="2788159" h="3702480" extrusionOk="0">
                    <a:moveTo>
                      <a:pt x="2786734" y="3702481"/>
                    </a:moveTo>
                    <a:lnTo>
                      <a:pt x="0" y="2089993"/>
                    </a:lnTo>
                    <a:lnTo>
                      <a:pt x="951" y="23640"/>
                    </a:lnTo>
                    <a:cubicBezTo>
                      <a:pt x="951" y="2494"/>
                      <a:pt x="15779" y="-6078"/>
                      <a:pt x="34030" y="4590"/>
                    </a:cubicBezTo>
                    <a:lnTo>
                      <a:pt x="2755080" y="1578691"/>
                    </a:lnTo>
                    <a:cubicBezTo>
                      <a:pt x="2774529" y="1591407"/>
                      <a:pt x="2786800" y="1612610"/>
                      <a:pt x="2788160" y="16358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45;p15"/>
              <p:cNvSpPr/>
              <p:nvPr/>
            </p:nvSpPr>
            <p:spPr>
              <a:xfrm>
                <a:off x="5762166" y="1403396"/>
                <a:ext cx="919754" cy="618313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13" extrusionOk="0">
                    <a:moveTo>
                      <a:pt x="906256" y="616665"/>
                    </a:moveTo>
                    <a:lnTo>
                      <a:pt x="13498" y="100220"/>
                    </a:lnTo>
                    <a:cubicBezTo>
                      <a:pt x="5142" y="94185"/>
                      <a:pt x="133" y="84538"/>
                      <a:pt x="0" y="74217"/>
                    </a:cubicBezTo>
                    <a:lnTo>
                      <a:pt x="0" y="11828"/>
                    </a:lnTo>
                    <a:cubicBezTo>
                      <a:pt x="0" y="2303"/>
                      <a:pt x="5988" y="-2745"/>
                      <a:pt x="13498" y="1541"/>
                    </a:cubicBezTo>
                    <a:lnTo>
                      <a:pt x="906256" y="517986"/>
                    </a:lnTo>
                    <a:cubicBezTo>
                      <a:pt x="914574" y="524052"/>
                      <a:pt x="919574" y="533680"/>
                      <a:pt x="919754" y="543990"/>
                    </a:cubicBezTo>
                    <a:lnTo>
                      <a:pt x="919754" y="606378"/>
                    </a:lnTo>
                    <a:cubicBezTo>
                      <a:pt x="919754" y="616380"/>
                      <a:pt x="913671" y="621047"/>
                      <a:pt x="906256" y="61666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15"/>
              <p:cNvSpPr/>
              <p:nvPr/>
            </p:nvSpPr>
            <p:spPr>
              <a:xfrm>
                <a:off x="5766158" y="1584712"/>
                <a:ext cx="686298" cy="451951"/>
              </a:xfrm>
              <a:custGeom>
                <a:avLst/>
                <a:gdLst/>
                <a:ahLst/>
                <a:cxnLst/>
                <a:rect l="l" t="t" r="r" b="b"/>
                <a:pathLst>
                  <a:path w="686298" h="451951" extrusionOk="0">
                    <a:moveTo>
                      <a:pt x="672991" y="450304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057"/>
                    </a:lnTo>
                    <a:cubicBezTo>
                      <a:pt x="681261" y="389103"/>
                      <a:pt x="686194" y="398708"/>
                      <a:pt x="686299" y="408965"/>
                    </a:cubicBezTo>
                    <a:lnTo>
                      <a:pt x="686299" y="440017"/>
                    </a:lnTo>
                    <a:cubicBezTo>
                      <a:pt x="686299" y="450018"/>
                      <a:pt x="680405" y="454685"/>
                      <a:pt x="672991" y="45030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15"/>
              <p:cNvSpPr/>
              <p:nvPr/>
            </p:nvSpPr>
            <p:spPr>
              <a:xfrm>
                <a:off x="5766158" y="1702632"/>
                <a:ext cx="686488" cy="45175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759" extrusionOk="0">
                    <a:moveTo>
                      <a:pt x="672991" y="450018"/>
                    </a:moveTo>
                    <a:lnTo>
                      <a:pt x="13593" y="69018"/>
                    </a:lnTo>
                    <a:cubicBezTo>
                      <a:pt x="5199" y="63044"/>
                      <a:pt x="152" y="53422"/>
                      <a:pt x="0" y="43110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343"/>
                    </a:lnTo>
                    <a:cubicBezTo>
                      <a:pt x="681337" y="389344"/>
                      <a:pt x="686337" y="398964"/>
                      <a:pt x="686489" y="409251"/>
                    </a:cubicBezTo>
                    <a:lnTo>
                      <a:pt x="686489" y="440302"/>
                    </a:lnTo>
                    <a:cubicBezTo>
                      <a:pt x="686299" y="450018"/>
                      <a:pt x="680405" y="454495"/>
                      <a:pt x="672991" y="45001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48;p15"/>
              <p:cNvSpPr/>
              <p:nvPr/>
            </p:nvSpPr>
            <p:spPr>
              <a:xfrm>
                <a:off x="5766158" y="1820170"/>
                <a:ext cx="562156" cy="379997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97" extrusionOk="0">
                    <a:moveTo>
                      <a:pt x="548564" y="378390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548564" y="311048"/>
                    </a:lnTo>
                    <a:cubicBezTo>
                      <a:pt x="556948" y="317077"/>
                      <a:pt x="561985" y="326717"/>
                      <a:pt x="562157" y="337051"/>
                    </a:cubicBezTo>
                    <a:lnTo>
                      <a:pt x="562157" y="368103"/>
                    </a:lnTo>
                    <a:cubicBezTo>
                      <a:pt x="562157" y="378104"/>
                      <a:pt x="556073" y="382676"/>
                      <a:pt x="548564" y="3783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15"/>
              <p:cNvSpPr/>
              <p:nvPr/>
            </p:nvSpPr>
            <p:spPr>
              <a:xfrm>
                <a:off x="5762166" y="2639293"/>
                <a:ext cx="919754" cy="618340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40" extrusionOk="0">
                    <a:moveTo>
                      <a:pt x="906256" y="616732"/>
                    </a:moveTo>
                    <a:lnTo>
                      <a:pt x="13498" y="100287"/>
                    </a:lnTo>
                    <a:cubicBezTo>
                      <a:pt x="5142" y="94248"/>
                      <a:pt x="133" y="84609"/>
                      <a:pt x="0" y="74284"/>
                    </a:cubicBezTo>
                    <a:lnTo>
                      <a:pt x="0" y="11895"/>
                    </a:lnTo>
                    <a:cubicBezTo>
                      <a:pt x="0" y="1894"/>
                      <a:pt x="5988" y="-2678"/>
                      <a:pt x="13498" y="1608"/>
                    </a:cubicBezTo>
                    <a:lnTo>
                      <a:pt x="906256" y="518053"/>
                    </a:lnTo>
                    <a:cubicBezTo>
                      <a:pt x="914574" y="524121"/>
                      <a:pt x="919574" y="533751"/>
                      <a:pt x="919754" y="544057"/>
                    </a:cubicBezTo>
                    <a:lnTo>
                      <a:pt x="919754" y="606445"/>
                    </a:lnTo>
                    <a:cubicBezTo>
                      <a:pt x="919754" y="616447"/>
                      <a:pt x="913671" y="621019"/>
                      <a:pt x="906256" y="61673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15"/>
              <p:cNvSpPr/>
              <p:nvPr/>
            </p:nvSpPr>
            <p:spPr>
              <a:xfrm>
                <a:off x="5766158" y="2821069"/>
                <a:ext cx="686488" cy="45151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519" extrusionOk="0">
                    <a:moveTo>
                      <a:pt x="672991" y="449910"/>
                    </a:moveTo>
                    <a:lnTo>
                      <a:pt x="13593" y="68910"/>
                    </a:lnTo>
                    <a:cubicBezTo>
                      <a:pt x="5209" y="62881"/>
                      <a:pt x="171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672991" y="382664"/>
                    </a:lnTo>
                    <a:cubicBezTo>
                      <a:pt x="681308" y="388731"/>
                      <a:pt x="686308" y="398361"/>
                      <a:pt x="686489" y="408667"/>
                    </a:cubicBezTo>
                    <a:lnTo>
                      <a:pt x="686489" y="439719"/>
                    </a:lnTo>
                    <a:cubicBezTo>
                      <a:pt x="686299" y="449625"/>
                      <a:pt x="680405" y="454197"/>
                      <a:pt x="672991" y="44991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51;p15"/>
              <p:cNvSpPr/>
              <p:nvPr/>
            </p:nvSpPr>
            <p:spPr>
              <a:xfrm>
                <a:off x="5766158" y="2938486"/>
                <a:ext cx="686488" cy="451826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826" extrusionOk="0">
                    <a:moveTo>
                      <a:pt x="672991" y="450223"/>
                    </a:moveTo>
                    <a:lnTo>
                      <a:pt x="13593" y="68747"/>
                    </a:lnTo>
                    <a:cubicBezTo>
                      <a:pt x="5228" y="62756"/>
                      <a:pt x="190" y="53145"/>
                      <a:pt x="0" y="42839"/>
                    </a:cubicBezTo>
                    <a:lnTo>
                      <a:pt x="0" y="11787"/>
                    </a:lnTo>
                    <a:cubicBezTo>
                      <a:pt x="0" y="2262"/>
                      <a:pt x="6084" y="-2786"/>
                      <a:pt x="13593" y="1595"/>
                    </a:cubicBezTo>
                    <a:lnTo>
                      <a:pt x="672991" y="382595"/>
                    </a:lnTo>
                    <a:cubicBezTo>
                      <a:pt x="681308" y="388663"/>
                      <a:pt x="686308" y="398293"/>
                      <a:pt x="686489" y="408599"/>
                    </a:cubicBezTo>
                    <a:lnTo>
                      <a:pt x="686489" y="439650"/>
                    </a:lnTo>
                    <a:cubicBezTo>
                      <a:pt x="686299" y="449937"/>
                      <a:pt x="680405" y="454509"/>
                      <a:pt x="672991" y="45022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15"/>
              <p:cNvSpPr/>
              <p:nvPr/>
            </p:nvSpPr>
            <p:spPr>
              <a:xfrm>
                <a:off x="5766158" y="3056051"/>
                <a:ext cx="562156" cy="379920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20" extrusionOk="0">
                    <a:moveTo>
                      <a:pt x="548564" y="378378"/>
                    </a:moveTo>
                    <a:lnTo>
                      <a:pt x="13593" y="68910"/>
                    </a:lnTo>
                    <a:cubicBezTo>
                      <a:pt x="5199" y="62900"/>
                      <a:pt x="152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548564" y="311131"/>
                    </a:lnTo>
                    <a:cubicBezTo>
                      <a:pt x="556948" y="317161"/>
                      <a:pt x="561985" y="326800"/>
                      <a:pt x="562157" y="337134"/>
                    </a:cubicBezTo>
                    <a:lnTo>
                      <a:pt x="562157" y="368186"/>
                    </a:lnTo>
                    <a:cubicBezTo>
                      <a:pt x="562157" y="378187"/>
                      <a:pt x="556073" y="382473"/>
                      <a:pt x="548564" y="378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53;p15"/>
              <p:cNvSpPr/>
              <p:nvPr/>
            </p:nvSpPr>
            <p:spPr>
              <a:xfrm>
                <a:off x="6897600" y="3332192"/>
                <a:ext cx="1250451" cy="1162368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62368" extrusionOk="0">
                    <a:moveTo>
                      <a:pt x="9696" y="77186"/>
                    </a:moveTo>
                    <a:cubicBezTo>
                      <a:pt x="9696" y="77186"/>
                      <a:pt x="108173" y="160053"/>
                      <a:pt x="250376" y="46896"/>
                    </a:cubicBezTo>
                    <a:cubicBezTo>
                      <a:pt x="351895" y="-36543"/>
                      <a:pt x="442672" y="11082"/>
                      <a:pt x="493242" y="39657"/>
                    </a:cubicBezTo>
                    <a:cubicBezTo>
                      <a:pt x="543811" y="68232"/>
                      <a:pt x="616813" y="85758"/>
                      <a:pt x="755879" y="337409"/>
                    </a:cubicBezTo>
                    <a:cubicBezTo>
                      <a:pt x="755879" y="337409"/>
                      <a:pt x="801125" y="416276"/>
                      <a:pt x="875839" y="459519"/>
                    </a:cubicBezTo>
                    <a:cubicBezTo>
                      <a:pt x="950552" y="502763"/>
                      <a:pt x="986483" y="481617"/>
                      <a:pt x="1045227" y="392844"/>
                    </a:cubicBezTo>
                    <a:cubicBezTo>
                      <a:pt x="1103971" y="304071"/>
                      <a:pt x="1142469" y="205773"/>
                      <a:pt x="1250452" y="269972"/>
                    </a:cubicBezTo>
                    <a:lnTo>
                      <a:pt x="1250452" y="1162369"/>
                    </a:lnTo>
                    <a:lnTo>
                      <a:pt x="0" y="439707"/>
                    </a:lnTo>
                    <a:lnTo>
                      <a:pt x="0" y="71375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54;p15"/>
              <p:cNvSpPr/>
              <p:nvPr/>
            </p:nvSpPr>
            <p:spPr>
              <a:xfrm>
                <a:off x="5766443" y="2003281"/>
                <a:ext cx="882682" cy="1029375"/>
              </a:xfrm>
              <a:custGeom>
                <a:avLst/>
                <a:gdLst/>
                <a:ahLst/>
                <a:cxnLst/>
                <a:rect l="l" t="t" r="r" b="b"/>
                <a:pathLst>
                  <a:path w="882682" h="1029375" extrusionOk="0">
                    <a:moveTo>
                      <a:pt x="869090" y="1027764"/>
                    </a:moveTo>
                    <a:lnTo>
                      <a:pt x="13593" y="532464"/>
                    </a:lnTo>
                    <a:cubicBezTo>
                      <a:pt x="5209" y="526435"/>
                      <a:pt x="171" y="516796"/>
                      <a:pt x="0" y="506461"/>
                    </a:cubicBezTo>
                    <a:lnTo>
                      <a:pt x="0" y="11828"/>
                    </a:lnTo>
                    <a:cubicBezTo>
                      <a:pt x="0" y="2303"/>
                      <a:pt x="6084" y="-2745"/>
                      <a:pt x="13593" y="1541"/>
                    </a:cubicBezTo>
                    <a:lnTo>
                      <a:pt x="869090" y="496841"/>
                    </a:lnTo>
                    <a:cubicBezTo>
                      <a:pt x="877474" y="502870"/>
                      <a:pt x="882512" y="512510"/>
                      <a:pt x="882683" y="522844"/>
                    </a:cubicBezTo>
                    <a:lnTo>
                      <a:pt x="882683" y="1017668"/>
                    </a:lnTo>
                    <a:cubicBezTo>
                      <a:pt x="882683" y="1027479"/>
                      <a:pt x="876599" y="1032051"/>
                      <a:pt x="869090" y="102776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55;p15"/>
              <p:cNvSpPr/>
              <p:nvPr/>
            </p:nvSpPr>
            <p:spPr>
              <a:xfrm>
                <a:off x="6897600" y="3388613"/>
                <a:ext cx="1250451" cy="1106424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06424" extrusionOk="0">
                    <a:moveTo>
                      <a:pt x="0" y="0"/>
                    </a:moveTo>
                    <a:lnTo>
                      <a:pt x="0" y="383096"/>
                    </a:lnTo>
                    <a:lnTo>
                      <a:pt x="1250452" y="1106424"/>
                    </a:lnTo>
                    <a:lnTo>
                      <a:pt x="1250452" y="214027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15"/>
              <p:cNvSpPr/>
              <p:nvPr/>
            </p:nvSpPr>
            <p:spPr>
              <a:xfrm>
                <a:off x="7389036" y="3376326"/>
                <a:ext cx="9505" cy="678751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678751" extrusionOk="0">
                    <a:moveTo>
                      <a:pt x="0" y="0"/>
                    </a:moveTo>
                    <a:lnTo>
                      <a:pt x="0" y="678752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57;p15"/>
              <p:cNvSpPr/>
              <p:nvPr/>
            </p:nvSpPr>
            <p:spPr>
              <a:xfrm>
                <a:off x="7771633" y="3805618"/>
                <a:ext cx="9505" cy="470725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470725" extrusionOk="0">
                    <a:moveTo>
                      <a:pt x="0" y="0"/>
                    </a:moveTo>
                    <a:lnTo>
                      <a:pt x="0" y="470725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15"/>
              <p:cNvSpPr/>
              <p:nvPr/>
            </p:nvSpPr>
            <p:spPr>
              <a:xfrm>
                <a:off x="6897600" y="3332663"/>
                <a:ext cx="1250451" cy="479359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479359" extrusionOk="0">
                    <a:moveTo>
                      <a:pt x="0" y="70905"/>
                    </a:moveTo>
                    <a:cubicBezTo>
                      <a:pt x="221859" y="208732"/>
                      <a:pt x="253227" y="-102831"/>
                      <a:pt x="494953" y="36996"/>
                    </a:cubicBezTo>
                    <a:cubicBezTo>
                      <a:pt x="736678" y="176823"/>
                      <a:pt x="703314" y="359036"/>
                      <a:pt x="881732" y="462288"/>
                    </a:cubicBezTo>
                    <a:cubicBezTo>
                      <a:pt x="1060151" y="565538"/>
                      <a:pt x="1064333" y="162250"/>
                      <a:pt x="1250452" y="269978"/>
                    </a:cubicBezTo>
                  </a:path>
                </a:pathLst>
              </a:custGeom>
              <a:noFill/>
              <a:ln w="14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15"/>
              <p:cNvSpPr/>
              <p:nvPr/>
            </p:nvSpPr>
            <p:spPr>
              <a:xfrm rot="-1801764">
                <a:off x="7364922" y="3334621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60;p15"/>
              <p:cNvSpPr/>
              <p:nvPr/>
            </p:nvSpPr>
            <p:spPr>
              <a:xfrm rot="-1790023">
                <a:off x="8141346" y="3571007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4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4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61;p15"/>
              <p:cNvSpPr/>
              <p:nvPr/>
            </p:nvSpPr>
            <p:spPr>
              <a:xfrm rot="-1790023">
                <a:off x="7763340" y="3766404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3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3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62;p15"/>
              <p:cNvSpPr/>
              <p:nvPr/>
            </p:nvSpPr>
            <p:spPr>
              <a:xfrm rot="-1801764">
                <a:off x="6873548" y="3361832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p15"/>
              <p:cNvSpPr/>
              <p:nvPr/>
            </p:nvSpPr>
            <p:spPr>
              <a:xfrm>
                <a:off x="6868038" y="2430219"/>
                <a:ext cx="78705" cy="316778"/>
              </a:xfrm>
              <a:custGeom>
                <a:avLst/>
                <a:gdLst/>
                <a:ahLst/>
                <a:cxnLst/>
                <a:rect l="l" t="t" r="r" b="b"/>
                <a:pathLst>
                  <a:path w="78705" h="316778" extrusionOk="0">
                    <a:moveTo>
                      <a:pt x="64828" y="315171"/>
                    </a:moveTo>
                    <a:lnTo>
                      <a:pt x="13593" y="285548"/>
                    </a:lnTo>
                    <a:cubicBezTo>
                      <a:pt x="5209" y="279519"/>
                      <a:pt x="171" y="269880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193" y="37136"/>
                      <a:pt x="78335" y="46566"/>
                      <a:pt x="78706" y="56758"/>
                    </a:cubicBezTo>
                    <a:lnTo>
                      <a:pt x="78706" y="304884"/>
                    </a:lnTo>
                    <a:cubicBezTo>
                      <a:pt x="78706" y="314885"/>
                      <a:pt x="72337" y="319457"/>
                      <a:pt x="64828" y="3151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64;p15"/>
              <p:cNvSpPr/>
              <p:nvPr/>
            </p:nvSpPr>
            <p:spPr>
              <a:xfrm>
                <a:off x="6986477" y="2241366"/>
                <a:ext cx="78420" cy="57392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73928" extrusionOk="0">
                    <a:moveTo>
                      <a:pt x="64828" y="572319"/>
                    </a:moveTo>
                    <a:lnTo>
                      <a:pt x="13593" y="542601"/>
                    </a:lnTo>
                    <a:cubicBezTo>
                      <a:pt x="5199" y="536629"/>
                      <a:pt x="152" y="527009"/>
                      <a:pt x="0" y="516693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4828" y="31299"/>
                    </a:lnTo>
                    <a:cubicBezTo>
                      <a:pt x="73211" y="37328"/>
                      <a:pt x="78249" y="46967"/>
                      <a:pt x="78421" y="57302"/>
                    </a:cubicBezTo>
                    <a:lnTo>
                      <a:pt x="78421" y="562127"/>
                    </a:lnTo>
                    <a:cubicBezTo>
                      <a:pt x="78041" y="572033"/>
                      <a:pt x="71957" y="576605"/>
                      <a:pt x="64828" y="5723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15"/>
              <p:cNvSpPr/>
              <p:nvPr/>
            </p:nvSpPr>
            <p:spPr>
              <a:xfrm>
                <a:off x="7222119" y="2426981"/>
                <a:ext cx="78420" cy="524860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24860" extrusionOk="0">
                    <a:moveTo>
                      <a:pt x="64828" y="523197"/>
                    </a:moveTo>
                    <a:lnTo>
                      <a:pt x="13593" y="493574"/>
                    </a:lnTo>
                    <a:cubicBezTo>
                      <a:pt x="5181" y="487583"/>
                      <a:pt x="124" y="477915"/>
                      <a:pt x="0" y="467571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231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513005"/>
                    </a:lnTo>
                    <a:cubicBezTo>
                      <a:pt x="78421" y="523006"/>
                      <a:pt x="72337" y="527578"/>
                      <a:pt x="64828" y="52319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15"/>
              <p:cNvSpPr/>
              <p:nvPr/>
            </p:nvSpPr>
            <p:spPr>
              <a:xfrm>
                <a:off x="7340177" y="2573447"/>
                <a:ext cx="78420" cy="446687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446687" extrusionOk="0">
                    <a:moveTo>
                      <a:pt x="64827" y="445025"/>
                    </a:moveTo>
                    <a:lnTo>
                      <a:pt x="13593" y="415402"/>
                    </a:lnTo>
                    <a:cubicBezTo>
                      <a:pt x="5209" y="409373"/>
                      <a:pt x="171" y="399734"/>
                      <a:pt x="0" y="389399"/>
                    </a:cubicBezTo>
                    <a:lnTo>
                      <a:pt x="0" y="11828"/>
                    </a:lnTo>
                    <a:cubicBezTo>
                      <a:pt x="0" y="2303"/>
                      <a:pt x="6083" y="-2745"/>
                      <a:pt x="13593" y="1541"/>
                    </a:cubicBezTo>
                    <a:lnTo>
                      <a:pt x="64827" y="31259"/>
                    </a:lnTo>
                    <a:cubicBezTo>
                      <a:pt x="73221" y="37231"/>
                      <a:pt x="78268" y="46851"/>
                      <a:pt x="78421" y="57167"/>
                    </a:cubicBezTo>
                    <a:lnTo>
                      <a:pt x="78421" y="434738"/>
                    </a:lnTo>
                    <a:cubicBezTo>
                      <a:pt x="78421" y="444835"/>
                      <a:pt x="72337" y="449406"/>
                      <a:pt x="64827" y="44502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67;p15"/>
              <p:cNvSpPr/>
              <p:nvPr/>
            </p:nvSpPr>
            <p:spPr>
              <a:xfrm>
                <a:off x="7575249" y="2900319"/>
                <a:ext cx="78325" cy="255777"/>
              </a:xfrm>
              <a:custGeom>
                <a:avLst/>
                <a:gdLst/>
                <a:ahLst/>
                <a:cxnLst/>
                <a:rect l="l" t="t" r="r" b="b"/>
                <a:pathLst>
                  <a:path w="78325" h="255777" extrusionOk="0">
                    <a:moveTo>
                      <a:pt x="64828" y="254170"/>
                    </a:moveTo>
                    <a:lnTo>
                      <a:pt x="13498" y="224547"/>
                    </a:lnTo>
                    <a:cubicBezTo>
                      <a:pt x="5143" y="218508"/>
                      <a:pt x="133" y="208869"/>
                      <a:pt x="0" y="198544"/>
                    </a:cubicBezTo>
                    <a:lnTo>
                      <a:pt x="0" y="11949"/>
                    </a:lnTo>
                    <a:cubicBezTo>
                      <a:pt x="0" y="1853"/>
                      <a:pt x="5989" y="-2719"/>
                      <a:pt x="13498" y="1662"/>
                    </a:cubicBezTo>
                    <a:lnTo>
                      <a:pt x="64828" y="31285"/>
                    </a:lnTo>
                    <a:cubicBezTo>
                      <a:pt x="73145" y="37352"/>
                      <a:pt x="78145" y="46982"/>
                      <a:pt x="78325" y="57288"/>
                    </a:cubicBezTo>
                    <a:lnTo>
                      <a:pt x="78325" y="243883"/>
                    </a:lnTo>
                    <a:cubicBezTo>
                      <a:pt x="78325" y="253884"/>
                      <a:pt x="72242" y="258456"/>
                      <a:pt x="64828" y="2541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p15"/>
              <p:cNvSpPr/>
              <p:nvPr/>
            </p:nvSpPr>
            <p:spPr>
              <a:xfrm>
                <a:off x="7693593" y="2520557"/>
                <a:ext cx="78420" cy="70383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703833" extrusionOk="0">
                    <a:moveTo>
                      <a:pt x="64447" y="702226"/>
                    </a:moveTo>
                    <a:lnTo>
                      <a:pt x="13593" y="672508"/>
                    </a:lnTo>
                    <a:cubicBezTo>
                      <a:pt x="5199" y="666536"/>
                      <a:pt x="152" y="656916"/>
                      <a:pt x="0" y="646600"/>
                    </a:cubicBezTo>
                    <a:lnTo>
                      <a:pt x="0" y="11949"/>
                    </a:lnTo>
                    <a:cubicBezTo>
                      <a:pt x="0" y="1853"/>
                      <a:pt x="6083" y="-2719"/>
                      <a:pt x="13593" y="1662"/>
                    </a:cubicBezTo>
                    <a:lnTo>
                      <a:pt x="64828" y="31285"/>
                    </a:lnTo>
                    <a:cubicBezTo>
                      <a:pt x="73221" y="37305"/>
                      <a:pt x="78268" y="46954"/>
                      <a:pt x="78421" y="57288"/>
                    </a:cubicBezTo>
                    <a:lnTo>
                      <a:pt x="78421" y="691939"/>
                    </a:lnTo>
                    <a:cubicBezTo>
                      <a:pt x="78040" y="701940"/>
                      <a:pt x="71957" y="706512"/>
                      <a:pt x="64447" y="702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69;p15"/>
              <p:cNvSpPr/>
              <p:nvPr/>
            </p:nvSpPr>
            <p:spPr>
              <a:xfrm>
                <a:off x="7981135" y="3135165"/>
                <a:ext cx="78420" cy="25581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255818" extrusionOk="0">
                    <a:moveTo>
                      <a:pt x="64828" y="254211"/>
                    </a:moveTo>
                    <a:lnTo>
                      <a:pt x="13593" y="224493"/>
                    </a:lnTo>
                    <a:cubicBezTo>
                      <a:pt x="5199" y="218521"/>
                      <a:pt x="152" y="208900"/>
                      <a:pt x="0" y="19858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240" y="37317"/>
                      <a:pt x="78297" y="46985"/>
                      <a:pt x="78421" y="57329"/>
                    </a:cubicBezTo>
                    <a:lnTo>
                      <a:pt x="78421" y="243924"/>
                    </a:lnTo>
                    <a:cubicBezTo>
                      <a:pt x="78421" y="253925"/>
                      <a:pt x="72337" y="258497"/>
                      <a:pt x="64828" y="25421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70;p15"/>
              <p:cNvSpPr/>
              <p:nvPr/>
            </p:nvSpPr>
            <p:spPr>
              <a:xfrm>
                <a:off x="8099193" y="3142308"/>
                <a:ext cx="78420" cy="31696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316963" extrusionOk="0">
                    <a:moveTo>
                      <a:pt x="64828" y="315266"/>
                    </a:moveTo>
                    <a:lnTo>
                      <a:pt x="13593" y="285548"/>
                    </a:lnTo>
                    <a:cubicBezTo>
                      <a:pt x="5181" y="279557"/>
                      <a:pt x="124" y="269889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4" y="-2678"/>
                      <a:pt x="13593" y="1608"/>
                    </a:cubicBezTo>
                    <a:lnTo>
                      <a:pt x="64828" y="31230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305360"/>
                    </a:lnTo>
                    <a:cubicBezTo>
                      <a:pt x="78421" y="315266"/>
                      <a:pt x="72337" y="319648"/>
                      <a:pt x="64828" y="315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71" name="Google Shape;471;p15"/>
            <p:cNvSpPr/>
            <p:nvPr/>
          </p:nvSpPr>
          <p:spPr>
            <a:xfrm>
              <a:off x="2810939" y="4355647"/>
              <a:ext cx="905825" cy="524291"/>
            </a:xfrm>
            <a:custGeom>
              <a:avLst/>
              <a:gdLst/>
              <a:ahLst/>
              <a:cxnLst/>
              <a:rect l="l" t="t" r="r" b="b"/>
              <a:pathLst>
                <a:path w="905825" h="524291" extrusionOk="0">
                  <a:moveTo>
                    <a:pt x="456810" y="505052"/>
                  </a:moveTo>
                  <a:lnTo>
                    <a:pt x="32483" y="259879"/>
                  </a:lnTo>
                  <a:cubicBezTo>
                    <a:pt x="-15615" y="231970"/>
                    <a:pt x="-9626" y="183679"/>
                    <a:pt x="45981" y="151294"/>
                  </a:cubicBezTo>
                  <a:lnTo>
                    <a:pt x="261376" y="26611"/>
                  </a:lnTo>
                  <a:cubicBezTo>
                    <a:pt x="316889" y="-5488"/>
                    <a:pt x="400632" y="-9298"/>
                    <a:pt x="449015" y="19277"/>
                  </a:cubicBezTo>
                  <a:lnTo>
                    <a:pt x="873342" y="264832"/>
                  </a:lnTo>
                  <a:cubicBezTo>
                    <a:pt x="921440" y="292645"/>
                    <a:pt x="915451" y="341032"/>
                    <a:pt x="859844" y="373322"/>
                  </a:cubicBezTo>
                  <a:lnTo>
                    <a:pt x="644449" y="498004"/>
                  </a:lnTo>
                  <a:cubicBezTo>
                    <a:pt x="588937" y="529627"/>
                    <a:pt x="505193" y="533627"/>
                    <a:pt x="456810" y="505052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Google Shape;472;p15"/>
            <p:cNvSpPr/>
            <p:nvPr/>
          </p:nvSpPr>
          <p:spPr>
            <a:xfrm>
              <a:off x="2999385" y="3858955"/>
              <a:ext cx="906089" cy="910207"/>
            </a:xfrm>
            <a:custGeom>
              <a:avLst/>
              <a:gdLst/>
              <a:ahLst/>
              <a:cxnLst/>
              <a:rect l="l" t="t" r="r" b="b"/>
              <a:pathLst>
                <a:path w="906089" h="910207" extrusionOk="0">
                  <a:moveTo>
                    <a:pt x="906089" y="695706"/>
                  </a:moveTo>
                  <a:lnTo>
                    <a:pt x="906089" y="102203"/>
                  </a:lnTo>
                  <a:lnTo>
                    <a:pt x="23" y="0"/>
                  </a:lnTo>
                  <a:lnTo>
                    <a:pt x="23" y="597218"/>
                  </a:lnTo>
                  <a:lnTo>
                    <a:pt x="23" y="597218"/>
                  </a:lnTo>
                  <a:cubicBezTo>
                    <a:pt x="-547" y="615506"/>
                    <a:pt x="9528" y="632936"/>
                    <a:pt x="32342" y="645891"/>
                  </a:cubicBezTo>
                  <a:lnTo>
                    <a:pt x="456668" y="891445"/>
                  </a:lnTo>
                  <a:cubicBezTo>
                    <a:pt x="504766" y="919258"/>
                    <a:pt x="588795" y="915734"/>
                    <a:pt x="644307" y="883634"/>
                  </a:cubicBezTo>
                  <a:lnTo>
                    <a:pt x="859702" y="758952"/>
                  </a:lnTo>
                  <a:cubicBezTo>
                    <a:pt x="890975" y="740855"/>
                    <a:pt x="906565" y="717518"/>
                    <a:pt x="905614" y="6957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5"/>
            <p:cNvSpPr/>
            <p:nvPr/>
          </p:nvSpPr>
          <p:spPr>
            <a:xfrm>
              <a:off x="2999385" y="3718383"/>
              <a:ext cx="905566" cy="524522"/>
            </a:xfrm>
            <a:custGeom>
              <a:avLst/>
              <a:gdLst/>
              <a:ahLst/>
              <a:cxnLst/>
              <a:rect l="l" t="t" r="r" b="b"/>
              <a:pathLst>
                <a:path w="905566" h="524522" extrusionOk="0">
                  <a:moveTo>
                    <a:pt x="905519" y="307545"/>
                  </a:moveTo>
                  <a:lnTo>
                    <a:pt x="905519" y="242775"/>
                  </a:lnTo>
                  <a:lnTo>
                    <a:pt x="835843" y="242775"/>
                  </a:lnTo>
                  <a:lnTo>
                    <a:pt x="448874" y="18842"/>
                  </a:lnTo>
                  <a:cubicBezTo>
                    <a:pt x="400776" y="-9066"/>
                    <a:pt x="316747" y="-5542"/>
                    <a:pt x="261235" y="26557"/>
                  </a:cubicBezTo>
                  <a:lnTo>
                    <a:pt x="45839" y="151716"/>
                  </a:lnTo>
                  <a:cubicBezTo>
                    <a:pt x="42009" y="153897"/>
                    <a:pt x="38296" y="156279"/>
                    <a:pt x="34718" y="158860"/>
                  </a:cubicBezTo>
                  <a:lnTo>
                    <a:pt x="23" y="141048"/>
                  </a:lnTo>
                  <a:cubicBezTo>
                    <a:pt x="23" y="141048"/>
                    <a:pt x="23" y="209533"/>
                    <a:pt x="23" y="211819"/>
                  </a:cubicBezTo>
                  <a:lnTo>
                    <a:pt x="23" y="211819"/>
                  </a:lnTo>
                  <a:cubicBezTo>
                    <a:pt x="-547" y="229916"/>
                    <a:pt x="9528" y="247347"/>
                    <a:pt x="32342" y="260301"/>
                  </a:cubicBezTo>
                  <a:lnTo>
                    <a:pt x="456668" y="505760"/>
                  </a:lnTo>
                  <a:cubicBezTo>
                    <a:pt x="504766" y="533573"/>
                    <a:pt x="588795" y="530049"/>
                    <a:pt x="644307" y="497950"/>
                  </a:cubicBezTo>
                  <a:lnTo>
                    <a:pt x="859702" y="373363"/>
                  </a:lnTo>
                  <a:cubicBezTo>
                    <a:pt x="891926" y="354313"/>
                    <a:pt x="907230" y="330500"/>
                    <a:pt x="905424" y="308021"/>
                  </a:cubicBezTo>
                  <a:close/>
                </a:path>
              </a:pathLst>
            </a:custGeom>
            <a:solidFill>
              <a:srgbClr val="EDF0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Google Shape;474;p15"/>
            <p:cNvSpPr/>
            <p:nvPr/>
          </p:nvSpPr>
          <p:spPr>
            <a:xfrm>
              <a:off x="2999243" y="3647851"/>
              <a:ext cx="905825" cy="524031"/>
            </a:xfrm>
            <a:custGeom>
              <a:avLst/>
              <a:gdLst/>
              <a:ahLst/>
              <a:cxnLst/>
              <a:rect l="l" t="t" r="r" b="b"/>
              <a:pathLst>
                <a:path w="905825" h="524031" extrusionOk="0">
                  <a:moveTo>
                    <a:pt x="456810" y="505236"/>
                  </a:moveTo>
                  <a:lnTo>
                    <a:pt x="32483" y="259777"/>
                  </a:lnTo>
                  <a:cubicBezTo>
                    <a:pt x="-15615" y="231964"/>
                    <a:pt x="-9626" y="183577"/>
                    <a:pt x="45981" y="151192"/>
                  </a:cubicBezTo>
                  <a:lnTo>
                    <a:pt x="261376" y="26605"/>
                  </a:lnTo>
                  <a:cubicBezTo>
                    <a:pt x="316889" y="-5589"/>
                    <a:pt x="400917" y="-9018"/>
                    <a:pt x="449015" y="18795"/>
                  </a:cubicBezTo>
                  <a:lnTo>
                    <a:pt x="873342" y="264254"/>
                  </a:lnTo>
                  <a:cubicBezTo>
                    <a:pt x="921440" y="292067"/>
                    <a:pt x="915451" y="340454"/>
                    <a:pt x="859844" y="372839"/>
                  </a:cubicBezTo>
                  <a:lnTo>
                    <a:pt x="644449" y="497426"/>
                  </a:lnTo>
                  <a:cubicBezTo>
                    <a:pt x="588937" y="529620"/>
                    <a:pt x="504908" y="533050"/>
                    <a:pt x="456810" y="505236"/>
                  </a:cubicBezTo>
                  <a:close/>
                </a:path>
              </a:pathLst>
            </a:custGeom>
            <a:solidFill>
              <a:srgbClr val="E2E5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Google Shape;475;p15"/>
            <p:cNvSpPr/>
            <p:nvPr/>
          </p:nvSpPr>
          <p:spPr>
            <a:xfrm>
              <a:off x="3230772" y="3780524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293" y="12575"/>
                    <a:pt x="13716" y="14395"/>
                    <a:pt x="11312" y="16424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p15"/>
            <p:cNvSpPr/>
            <p:nvPr/>
          </p:nvSpPr>
          <p:spPr>
            <a:xfrm>
              <a:off x="3230772" y="3756847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8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8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15"/>
            <p:cNvSpPr/>
            <p:nvPr/>
          </p:nvSpPr>
          <p:spPr>
            <a:xfrm>
              <a:off x="3393243" y="3872036"/>
              <a:ext cx="129623" cy="74995"/>
            </a:xfrm>
            <a:custGeom>
              <a:avLst/>
              <a:gdLst/>
              <a:ahLst/>
              <a:cxnLst/>
              <a:rect l="l" t="t" r="r" b="b"/>
              <a:pathLst>
                <a:path w="129623" h="74995" extrusionOk="0">
                  <a:moveTo>
                    <a:pt x="128018" y="45689"/>
                  </a:moveTo>
                  <a:cubicBezTo>
                    <a:pt x="124482" y="53623"/>
                    <a:pt x="118341" y="60110"/>
                    <a:pt x="110623" y="64072"/>
                  </a:cubicBezTo>
                  <a:cubicBezTo>
                    <a:pt x="81812" y="78636"/>
                    <a:pt x="47801" y="78636"/>
                    <a:pt x="18990" y="64072"/>
                  </a:cubicBezTo>
                  <a:cubicBezTo>
                    <a:pt x="11271" y="60110"/>
                    <a:pt x="5131" y="53623"/>
                    <a:pt x="1595" y="45689"/>
                  </a:cubicBezTo>
                  <a:cubicBezTo>
                    <a:pt x="-3158" y="33497"/>
                    <a:pt x="2735" y="20448"/>
                    <a:pt x="18990" y="10923"/>
                  </a:cubicBezTo>
                  <a:cubicBezTo>
                    <a:pt x="47801" y="-3641"/>
                    <a:pt x="81812" y="-3641"/>
                    <a:pt x="110623" y="10923"/>
                  </a:cubicBezTo>
                  <a:cubicBezTo>
                    <a:pt x="126972" y="19971"/>
                    <a:pt x="132771" y="33021"/>
                    <a:pt x="128018" y="456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Google Shape;478;p15"/>
            <p:cNvSpPr/>
            <p:nvPr/>
          </p:nvSpPr>
          <p:spPr>
            <a:xfrm>
              <a:off x="3395112" y="3888323"/>
              <a:ext cx="126148" cy="58707"/>
            </a:xfrm>
            <a:custGeom>
              <a:avLst/>
              <a:gdLst/>
              <a:ahLst/>
              <a:cxnLst/>
              <a:rect l="l" t="t" r="r" b="b"/>
              <a:pathLst>
                <a:path w="126148" h="58707" extrusionOk="0">
                  <a:moveTo>
                    <a:pt x="126149" y="29401"/>
                  </a:moveTo>
                  <a:cubicBezTo>
                    <a:pt x="122613" y="37336"/>
                    <a:pt x="116472" y="43822"/>
                    <a:pt x="108754" y="47784"/>
                  </a:cubicBezTo>
                  <a:cubicBezTo>
                    <a:pt x="79942" y="62348"/>
                    <a:pt x="45932" y="62348"/>
                    <a:pt x="17120" y="47784"/>
                  </a:cubicBezTo>
                  <a:cubicBezTo>
                    <a:pt x="6959" y="47051"/>
                    <a:pt x="-683" y="38202"/>
                    <a:pt x="48" y="28030"/>
                  </a:cubicBezTo>
                  <a:cubicBezTo>
                    <a:pt x="704" y="18867"/>
                    <a:pt x="7976" y="11580"/>
                    <a:pt x="17120" y="10923"/>
                  </a:cubicBezTo>
                  <a:cubicBezTo>
                    <a:pt x="45932" y="-3641"/>
                    <a:pt x="79942" y="-3641"/>
                    <a:pt x="108754" y="10923"/>
                  </a:cubicBezTo>
                  <a:cubicBezTo>
                    <a:pt x="116491" y="14904"/>
                    <a:pt x="122632" y="21429"/>
                    <a:pt x="126149" y="29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Google Shape;479;p15"/>
            <p:cNvSpPr/>
            <p:nvPr/>
          </p:nvSpPr>
          <p:spPr>
            <a:xfrm>
              <a:off x="3543979" y="3964737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321" y="12585"/>
                    <a:pt x="13745" y="14366"/>
                    <a:pt x="11312" y="16328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Google Shape;480;p15"/>
            <p:cNvSpPr/>
            <p:nvPr/>
          </p:nvSpPr>
          <p:spPr>
            <a:xfrm>
              <a:off x="3543979" y="3941061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9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9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Google Shape;481;p15"/>
            <p:cNvSpPr/>
            <p:nvPr/>
          </p:nvSpPr>
          <p:spPr>
            <a:xfrm>
              <a:off x="5673026" y="4464079"/>
              <a:ext cx="468241" cy="270891"/>
            </a:xfrm>
            <a:custGeom>
              <a:avLst/>
              <a:gdLst/>
              <a:ahLst/>
              <a:cxnLst/>
              <a:rect l="l" t="t" r="r" b="b"/>
              <a:pathLst>
                <a:path w="468241" h="270891" extrusionOk="0">
                  <a:moveTo>
                    <a:pt x="468242" y="135445"/>
                  </a:moveTo>
                  <a:cubicBezTo>
                    <a:pt x="468242" y="210250"/>
                    <a:pt x="363422" y="270891"/>
                    <a:pt x="234121" y="270891"/>
                  </a:cubicBezTo>
                  <a:cubicBezTo>
                    <a:pt x="104819" y="270891"/>
                    <a:pt x="0" y="210250"/>
                    <a:pt x="0" y="135445"/>
                  </a:cubicBezTo>
                  <a:cubicBezTo>
                    <a:pt x="0" y="60641"/>
                    <a:pt x="104819" y="0"/>
                    <a:pt x="234121" y="0"/>
                  </a:cubicBezTo>
                  <a:cubicBezTo>
                    <a:pt x="363422" y="0"/>
                    <a:pt x="468242" y="60641"/>
                    <a:pt x="468242" y="1354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Google Shape;482;p15"/>
            <p:cNvSpPr/>
            <p:nvPr/>
          </p:nvSpPr>
          <p:spPr>
            <a:xfrm>
              <a:off x="5819482" y="3280817"/>
              <a:ext cx="243195" cy="356577"/>
            </a:xfrm>
            <a:custGeom>
              <a:avLst/>
              <a:gdLst/>
              <a:ahLst/>
              <a:cxnLst/>
              <a:rect l="l" t="t" r="r" b="b"/>
              <a:pathLst>
                <a:path w="243195" h="356577" extrusionOk="0">
                  <a:moveTo>
                    <a:pt x="85669" y="11781"/>
                  </a:moveTo>
                  <a:cubicBezTo>
                    <a:pt x="95174" y="-3744"/>
                    <a:pt x="169318" y="-14031"/>
                    <a:pt x="193652" y="48738"/>
                  </a:cubicBezTo>
                  <a:cubicBezTo>
                    <a:pt x="203157" y="72551"/>
                    <a:pt x="201446" y="133416"/>
                    <a:pt x="209145" y="171611"/>
                  </a:cubicBezTo>
                  <a:cubicBezTo>
                    <a:pt x="216845" y="209806"/>
                    <a:pt x="235000" y="231523"/>
                    <a:pt x="241559" y="262479"/>
                  </a:cubicBezTo>
                  <a:cubicBezTo>
                    <a:pt x="248118" y="293436"/>
                    <a:pt x="237472" y="345442"/>
                    <a:pt x="162854" y="354681"/>
                  </a:cubicBezTo>
                  <a:cubicBezTo>
                    <a:pt x="88236" y="363921"/>
                    <a:pt x="30917" y="337632"/>
                    <a:pt x="13332" y="313819"/>
                  </a:cubicBezTo>
                  <a:cubicBezTo>
                    <a:pt x="-4253" y="290007"/>
                    <a:pt x="-4634" y="239334"/>
                    <a:pt x="13332" y="212092"/>
                  </a:cubicBezTo>
                  <a:cubicBezTo>
                    <a:pt x="31297" y="184851"/>
                    <a:pt x="45556" y="162848"/>
                    <a:pt x="45080" y="127415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15"/>
            <p:cNvSpPr/>
            <p:nvPr/>
          </p:nvSpPr>
          <p:spPr>
            <a:xfrm>
              <a:off x="5837923" y="3277536"/>
              <a:ext cx="116085" cy="143945"/>
            </a:xfrm>
            <a:custGeom>
              <a:avLst/>
              <a:gdLst/>
              <a:ahLst/>
              <a:cxnLst/>
              <a:rect l="l" t="t" r="r" b="b"/>
              <a:pathLst>
                <a:path w="116085" h="143945" extrusionOk="0">
                  <a:moveTo>
                    <a:pt x="116086" y="4300"/>
                  </a:moveTo>
                  <a:cubicBezTo>
                    <a:pt x="116086" y="4300"/>
                    <a:pt x="60383" y="-11798"/>
                    <a:pt x="26639" y="18301"/>
                  </a:cubicBezTo>
                  <a:cubicBezTo>
                    <a:pt x="3978" y="39285"/>
                    <a:pt x="-5176" y="71137"/>
                    <a:pt x="2875" y="100979"/>
                  </a:cubicBezTo>
                  <a:cubicBezTo>
                    <a:pt x="7343" y="118600"/>
                    <a:pt x="16373" y="142603"/>
                    <a:pt x="30346" y="143936"/>
                  </a:cubicBezTo>
                  <a:cubicBezTo>
                    <a:pt x="44319" y="145270"/>
                    <a:pt x="116086" y="4300"/>
                    <a:pt x="116086" y="4300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15"/>
            <p:cNvSpPr/>
            <p:nvPr/>
          </p:nvSpPr>
          <p:spPr>
            <a:xfrm>
              <a:off x="5860663" y="3433950"/>
              <a:ext cx="143677" cy="161015"/>
            </a:xfrm>
            <a:custGeom>
              <a:avLst/>
              <a:gdLst/>
              <a:ahLst/>
              <a:cxnLst/>
              <a:rect l="l" t="t" r="r" b="b"/>
              <a:pathLst>
                <a:path w="143677" h="161015" extrusionOk="0">
                  <a:moveTo>
                    <a:pt x="114638" y="0"/>
                  </a:moveTo>
                  <a:cubicBezTo>
                    <a:pt x="114638" y="0"/>
                    <a:pt x="110931" y="62103"/>
                    <a:pt x="112072" y="66675"/>
                  </a:cubicBezTo>
                  <a:cubicBezTo>
                    <a:pt x="113212" y="71247"/>
                    <a:pt x="136406" y="76200"/>
                    <a:pt x="142965" y="81153"/>
                  </a:cubicBezTo>
                  <a:cubicBezTo>
                    <a:pt x="149524" y="86106"/>
                    <a:pt x="109220" y="149638"/>
                    <a:pt x="88783" y="158972"/>
                  </a:cubicBezTo>
                  <a:cubicBezTo>
                    <a:pt x="68346" y="168307"/>
                    <a:pt x="4944" y="144399"/>
                    <a:pt x="477" y="112871"/>
                  </a:cubicBezTo>
                  <a:cubicBezTo>
                    <a:pt x="-3515" y="83725"/>
                    <a:pt x="18632" y="61151"/>
                    <a:pt x="27187" y="53245"/>
                  </a:cubicBezTo>
                  <a:cubicBezTo>
                    <a:pt x="32995" y="52692"/>
                    <a:pt x="38841" y="52531"/>
                    <a:pt x="44678" y="52769"/>
                  </a:cubicBezTo>
                  <a:lnTo>
                    <a:pt x="46579" y="22670"/>
                  </a:lnTo>
                  <a:cubicBezTo>
                    <a:pt x="74335" y="13811"/>
                    <a:pt x="114638" y="0"/>
                    <a:pt x="114638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15"/>
            <p:cNvSpPr/>
            <p:nvPr/>
          </p:nvSpPr>
          <p:spPr>
            <a:xfrm>
              <a:off x="5729287" y="3551002"/>
              <a:ext cx="121787" cy="284211"/>
            </a:xfrm>
            <a:custGeom>
              <a:avLst/>
              <a:gdLst/>
              <a:ahLst/>
              <a:cxnLst/>
              <a:rect l="l" t="t" r="r" b="b"/>
              <a:pathLst>
                <a:path w="121787" h="284211" extrusionOk="0">
                  <a:moveTo>
                    <a:pt x="96303" y="391"/>
                  </a:moveTo>
                  <a:cubicBezTo>
                    <a:pt x="96303" y="-1418"/>
                    <a:pt x="86797" y="3630"/>
                    <a:pt x="86797" y="3725"/>
                  </a:cubicBezTo>
                  <a:cubicBezTo>
                    <a:pt x="86797" y="3820"/>
                    <a:pt x="82330" y="163269"/>
                    <a:pt x="74535" y="177747"/>
                  </a:cubicBezTo>
                  <a:lnTo>
                    <a:pt x="74535" y="177747"/>
                  </a:lnTo>
                  <a:cubicBezTo>
                    <a:pt x="54669" y="211560"/>
                    <a:pt x="2103" y="268901"/>
                    <a:pt x="772" y="275283"/>
                  </a:cubicBezTo>
                  <a:cubicBezTo>
                    <a:pt x="-3125" y="294333"/>
                    <a:pt x="8092" y="277283"/>
                    <a:pt x="26152" y="275283"/>
                  </a:cubicBezTo>
                  <a:cubicBezTo>
                    <a:pt x="36323" y="274044"/>
                    <a:pt x="96113" y="213466"/>
                    <a:pt x="109516" y="199654"/>
                  </a:cubicBezTo>
                  <a:lnTo>
                    <a:pt x="110371" y="200131"/>
                  </a:lnTo>
                  <a:lnTo>
                    <a:pt x="110371" y="198607"/>
                  </a:lnTo>
                  <a:lnTo>
                    <a:pt x="112082" y="196797"/>
                  </a:lnTo>
                  <a:cubicBezTo>
                    <a:pt x="112424" y="192482"/>
                    <a:pt x="112424" y="188158"/>
                    <a:pt x="112082" y="183843"/>
                  </a:cubicBezTo>
                  <a:cubicBezTo>
                    <a:pt x="137272" y="10583"/>
                    <a:pt x="106664" y="-942"/>
                    <a:pt x="96303" y="39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15"/>
            <p:cNvSpPr/>
            <p:nvPr/>
          </p:nvSpPr>
          <p:spPr>
            <a:xfrm>
              <a:off x="5818929" y="3486611"/>
              <a:ext cx="209320" cy="241045"/>
            </a:xfrm>
            <a:custGeom>
              <a:avLst/>
              <a:gdLst/>
              <a:ahLst/>
              <a:cxnLst/>
              <a:rect l="l" t="t" r="r" b="b"/>
              <a:pathLst>
                <a:path w="209320" h="241045" extrusionOk="0">
                  <a:moveTo>
                    <a:pt x="164832" y="20110"/>
                  </a:moveTo>
                  <a:cubicBezTo>
                    <a:pt x="182322" y="22777"/>
                    <a:pt x="202189" y="32111"/>
                    <a:pt x="204945" y="41636"/>
                  </a:cubicBezTo>
                  <a:cubicBezTo>
                    <a:pt x="212141" y="76098"/>
                    <a:pt x="210439" y="111835"/>
                    <a:pt x="200002" y="145459"/>
                  </a:cubicBezTo>
                  <a:cubicBezTo>
                    <a:pt x="184889" y="185464"/>
                    <a:pt x="174718" y="210895"/>
                    <a:pt x="165973" y="228136"/>
                  </a:cubicBezTo>
                  <a:cubicBezTo>
                    <a:pt x="165973" y="228136"/>
                    <a:pt x="90594" y="260521"/>
                    <a:pt x="29758" y="222706"/>
                  </a:cubicBezTo>
                  <a:cubicBezTo>
                    <a:pt x="29758" y="222706"/>
                    <a:pt x="25576" y="179844"/>
                    <a:pt x="25291" y="156889"/>
                  </a:cubicBezTo>
                  <a:cubicBezTo>
                    <a:pt x="-30792" y="107835"/>
                    <a:pt x="17211" y="47351"/>
                    <a:pt x="64739" y="393"/>
                  </a:cubicBezTo>
                  <a:cubicBezTo>
                    <a:pt x="70433" y="-131"/>
                    <a:pt x="76155" y="-131"/>
                    <a:pt x="81849" y="393"/>
                  </a:cubicBezTo>
                  <a:cubicBezTo>
                    <a:pt x="81849" y="393"/>
                    <a:pt x="39454" y="50685"/>
                    <a:pt x="68921" y="79260"/>
                  </a:cubicBezTo>
                  <a:cubicBezTo>
                    <a:pt x="132133" y="59638"/>
                    <a:pt x="144680" y="31063"/>
                    <a:pt x="164832" y="2011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15"/>
            <p:cNvSpPr/>
            <p:nvPr/>
          </p:nvSpPr>
          <p:spPr>
            <a:xfrm>
              <a:off x="5856166" y="3289038"/>
              <a:ext cx="154042" cy="190250"/>
            </a:xfrm>
            <a:custGeom>
              <a:avLst/>
              <a:gdLst/>
              <a:ahLst/>
              <a:cxnLst/>
              <a:rect l="l" t="t" r="r" b="b"/>
              <a:pathLst>
                <a:path w="154042" h="190250" extrusionOk="0">
                  <a:moveTo>
                    <a:pt x="3263" y="67854"/>
                  </a:moveTo>
                  <a:lnTo>
                    <a:pt x="3263" y="67854"/>
                  </a:lnTo>
                  <a:cubicBezTo>
                    <a:pt x="9442" y="27945"/>
                    <a:pt x="38244" y="-2250"/>
                    <a:pt x="79308" y="132"/>
                  </a:cubicBezTo>
                  <a:cubicBezTo>
                    <a:pt x="122872" y="2484"/>
                    <a:pt x="156274" y="39784"/>
                    <a:pt x="153926" y="83437"/>
                  </a:cubicBezTo>
                  <a:cubicBezTo>
                    <a:pt x="152586" y="108288"/>
                    <a:pt x="139668" y="131053"/>
                    <a:pt x="119041" y="144912"/>
                  </a:cubicBezTo>
                  <a:cubicBezTo>
                    <a:pt x="117624" y="150960"/>
                    <a:pt x="115486" y="156808"/>
                    <a:pt x="112672" y="162342"/>
                  </a:cubicBezTo>
                  <a:cubicBezTo>
                    <a:pt x="98129" y="179297"/>
                    <a:pt x="59441" y="190060"/>
                    <a:pt x="46704" y="190251"/>
                  </a:cubicBezTo>
                  <a:cubicBezTo>
                    <a:pt x="35677" y="190251"/>
                    <a:pt x="26172" y="180059"/>
                    <a:pt x="15811" y="162914"/>
                  </a:cubicBezTo>
                  <a:cubicBezTo>
                    <a:pt x="-5672" y="127195"/>
                    <a:pt x="-158" y="87571"/>
                    <a:pt x="3263" y="67854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15"/>
            <p:cNvSpPr/>
            <p:nvPr/>
          </p:nvSpPr>
          <p:spPr>
            <a:xfrm>
              <a:off x="5862376" y="3287995"/>
              <a:ext cx="154704" cy="145954"/>
            </a:xfrm>
            <a:custGeom>
              <a:avLst/>
              <a:gdLst/>
              <a:ahLst/>
              <a:cxnLst/>
              <a:rect l="l" t="t" r="r" b="b"/>
              <a:pathLst>
                <a:path w="154704" h="145954" extrusionOk="0">
                  <a:moveTo>
                    <a:pt x="85930" y="1937"/>
                  </a:moveTo>
                  <a:cubicBezTo>
                    <a:pt x="114447" y="7557"/>
                    <a:pt x="138400" y="15748"/>
                    <a:pt x="146290" y="44038"/>
                  </a:cubicBezTo>
                  <a:cubicBezTo>
                    <a:pt x="151613" y="63659"/>
                    <a:pt x="158647" y="101188"/>
                    <a:pt x="151993" y="116523"/>
                  </a:cubicBezTo>
                  <a:lnTo>
                    <a:pt x="147811" y="127857"/>
                  </a:lnTo>
                  <a:lnTo>
                    <a:pt x="112926" y="145955"/>
                  </a:lnTo>
                  <a:cubicBezTo>
                    <a:pt x="112926" y="145955"/>
                    <a:pt x="96576" y="132334"/>
                    <a:pt x="101709" y="92424"/>
                  </a:cubicBezTo>
                  <a:cubicBezTo>
                    <a:pt x="101510" y="87043"/>
                    <a:pt x="99798" y="81823"/>
                    <a:pt x="96766" y="77375"/>
                  </a:cubicBezTo>
                  <a:cubicBezTo>
                    <a:pt x="94580" y="73594"/>
                    <a:pt x="92954" y="69517"/>
                    <a:pt x="91919" y="65278"/>
                  </a:cubicBezTo>
                  <a:cubicBezTo>
                    <a:pt x="87774" y="54496"/>
                    <a:pt x="79685" y="45704"/>
                    <a:pt x="69295" y="40704"/>
                  </a:cubicBezTo>
                  <a:cubicBezTo>
                    <a:pt x="43345" y="26130"/>
                    <a:pt x="5323" y="38704"/>
                    <a:pt x="0" y="44038"/>
                  </a:cubicBezTo>
                  <a:cubicBezTo>
                    <a:pt x="15142" y="11452"/>
                    <a:pt x="50959" y="-6102"/>
                    <a:pt x="85930" y="193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15"/>
            <p:cNvSpPr/>
            <p:nvPr/>
          </p:nvSpPr>
          <p:spPr>
            <a:xfrm>
              <a:off x="5888298" y="4552945"/>
              <a:ext cx="121626" cy="93085"/>
            </a:xfrm>
            <a:custGeom>
              <a:avLst/>
              <a:gdLst/>
              <a:ahLst/>
              <a:cxnLst/>
              <a:rect l="l" t="t" r="r" b="b"/>
              <a:pathLst>
                <a:path w="121626" h="93085" extrusionOk="0">
                  <a:moveTo>
                    <a:pt x="112478" y="2"/>
                  </a:moveTo>
                  <a:cubicBezTo>
                    <a:pt x="97840" y="11908"/>
                    <a:pt x="75121" y="3717"/>
                    <a:pt x="74456" y="4765"/>
                  </a:cubicBezTo>
                  <a:cubicBezTo>
                    <a:pt x="57422" y="19395"/>
                    <a:pt x="39590" y="33073"/>
                    <a:pt x="21035" y="45722"/>
                  </a:cubicBezTo>
                  <a:cubicBezTo>
                    <a:pt x="11529" y="52866"/>
                    <a:pt x="-2254" y="62486"/>
                    <a:pt x="313" y="76202"/>
                  </a:cubicBezTo>
                  <a:cubicBezTo>
                    <a:pt x="4875" y="100872"/>
                    <a:pt x="44228" y="93347"/>
                    <a:pt x="59057" y="85727"/>
                  </a:cubicBezTo>
                  <a:cubicBezTo>
                    <a:pt x="73886" y="78107"/>
                    <a:pt x="86053" y="65725"/>
                    <a:pt x="100121" y="57152"/>
                  </a:cubicBezTo>
                  <a:cubicBezTo>
                    <a:pt x="110102" y="50961"/>
                    <a:pt x="119987" y="47627"/>
                    <a:pt x="121604" y="35054"/>
                  </a:cubicBezTo>
                  <a:cubicBezTo>
                    <a:pt x="122079" y="27149"/>
                    <a:pt x="115045" y="-284"/>
                    <a:pt x="11247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15"/>
            <p:cNvSpPr/>
            <p:nvPr/>
          </p:nvSpPr>
          <p:spPr>
            <a:xfrm>
              <a:off x="5888421" y="4582665"/>
              <a:ext cx="121131" cy="63346"/>
            </a:xfrm>
            <a:custGeom>
              <a:avLst/>
              <a:gdLst/>
              <a:ahLst/>
              <a:cxnLst/>
              <a:rect l="l" t="t" r="r" b="b"/>
              <a:pathLst>
                <a:path w="121131" h="63346" extrusionOk="0">
                  <a:moveTo>
                    <a:pt x="120910" y="0"/>
                  </a:moveTo>
                  <a:cubicBezTo>
                    <a:pt x="118914" y="12192"/>
                    <a:pt x="109219" y="15526"/>
                    <a:pt x="99238" y="21717"/>
                  </a:cubicBezTo>
                  <a:cubicBezTo>
                    <a:pt x="84979" y="30575"/>
                    <a:pt x="72432" y="43434"/>
                    <a:pt x="57604" y="50959"/>
                  </a:cubicBezTo>
                  <a:cubicBezTo>
                    <a:pt x="42775" y="58484"/>
                    <a:pt x="9601" y="64770"/>
                    <a:pt x="0" y="47244"/>
                  </a:cubicBezTo>
                  <a:cubicBezTo>
                    <a:pt x="5228" y="70961"/>
                    <a:pt x="43916" y="63532"/>
                    <a:pt x="58554" y="56007"/>
                  </a:cubicBezTo>
                  <a:cubicBezTo>
                    <a:pt x="73193" y="48482"/>
                    <a:pt x="85550" y="36004"/>
                    <a:pt x="99618" y="27432"/>
                  </a:cubicBezTo>
                  <a:cubicBezTo>
                    <a:pt x="109599" y="21241"/>
                    <a:pt x="119484" y="17907"/>
                    <a:pt x="121101" y="5334"/>
                  </a:cubicBezTo>
                  <a:cubicBezTo>
                    <a:pt x="121177" y="3553"/>
                    <a:pt x="121110" y="1772"/>
                    <a:pt x="12091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15"/>
            <p:cNvSpPr/>
            <p:nvPr/>
          </p:nvSpPr>
          <p:spPr>
            <a:xfrm>
              <a:off x="5795742" y="4532466"/>
              <a:ext cx="111395" cy="86487"/>
            </a:xfrm>
            <a:custGeom>
              <a:avLst/>
              <a:gdLst/>
              <a:ahLst/>
              <a:cxnLst/>
              <a:rect l="l" t="t" r="r" b="b"/>
              <a:pathLst>
                <a:path w="111395" h="86487" extrusionOk="0">
                  <a:moveTo>
                    <a:pt x="102659" y="2"/>
                  </a:moveTo>
                  <a:cubicBezTo>
                    <a:pt x="89257" y="10956"/>
                    <a:pt x="69105" y="4765"/>
                    <a:pt x="68154" y="5812"/>
                  </a:cubicBezTo>
                  <a:cubicBezTo>
                    <a:pt x="52537" y="19109"/>
                    <a:pt x="36225" y="31578"/>
                    <a:pt x="19296" y="43151"/>
                  </a:cubicBezTo>
                  <a:cubicBezTo>
                    <a:pt x="10931" y="49723"/>
                    <a:pt x="-2091" y="58486"/>
                    <a:pt x="285" y="71059"/>
                  </a:cubicBezTo>
                  <a:cubicBezTo>
                    <a:pt x="4467" y="93633"/>
                    <a:pt x="40493" y="86680"/>
                    <a:pt x="54181" y="79822"/>
                  </a:cubicBezTo>
                  <a:cubicBezTo>
                    <a:pt x="67869" y="72964"/>
                    <a:pt x="78800" y="61438"/>
                    <a:pt x="91728" y="53437"/>
                  </a:cubicBezTo>
                  <a:cubicBezTo>
                    <a:pt x="101234" y="47722"/>
                    <a:pt x="109884" y="44770"/>
                    <a:pt x="111309" y="33149"/>
                  </a:cubicBezTo>
                  <a:cubicBezTo>
                    <a:pt x="112260" y="26101"/>
                    <a:pt x="105036" y="-283"/>
                    <a:pt x="102659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15"/>
            <p:cNvSpPr/>
            <p:nvPr/>
          </p:nvSpPr>
          <p:spPr>
            <a:xfrm>
              <a:off x="5796313" y="4560948"/>
              <a:ext cx="110894" cy="58013"/>
            </a:xfrm>
            <a:custGeom>
              <a:avLst/>
              <a:gdLst/>
              <a:ahLst/>
              <a:cxnLst/>
              <a:rect l="l" t="t" r="r" b="b"/>
              <a:pathLst>
                <a:path w="110894" h="58013" extrusionOk="0">
                  <a:moveTo>
                    <a:pt x="110644" y="0"/>
                  </a:moveTo>
                  <a:cubicBezTo>
                    <a:pt x="108838" y="11144"/>
                    <a:pt x="99903" y="14192"/>
                    <a:pt x="90778" y="19812"/>
                  </a:cubicBezTo>
                  <a:cubicBezTo>
                    <a:pt x="77755" y="28004"/>
                    <a:pt x="66254" y="39719"/>
                    <a:pt x="52756" y="46672"/>
                  </a:cubicBezTo>
                  <a:cubicBezTo>
                    <a:pt x="39258" y="53626"/>
                    <a:pt x="8840" y="59341"/>
                    <a:pt x="0" y="43244"/>
                  </a:cubicBezTo>
                  <a:cubicBezTo>
                    <a:pt x="4753" y="64961"/>
                    <a:pt x="40208" y="58198"/>
                    <a:pt x="53706" y="51340"/>
                  </a:cubicBezTo>
                  <a:cubicBezTo>
                    <a:pt x="67204" y="44482"/>
                    <a:pt x="78325" y="32956"/>
                    <a:pt x="91253" y="24955"/>
                  </a:cubicBezTo>
                  <a:cubicBezTo>
                    <a:pt x="100758" y="19240"/>
                    <a:pt x="109408" y="16288"/>
                    <a:pt x="110834" y="4667"/>
                  </a:cubicBezTo>
                  <a:cubicBezTo>
                    <a:pt x="110958" y="3105"/>
                    <a:pt x="110891" y="1543"/>
                    <a:pt x="11064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15"/>
            <p:cNvSpPr/>
            <p:nvPr/>
          </p:nvSpPr>
          <p:spPr>
            <a:xfrm>
              <a:off x="5813683" y="3728558"/>
              <a:ext cx="237954" cy="833275"/>
            </a:xfrm>
            <a:custGeom>
              <a:avLst/>
              <a:gdLst/>
              <a:ahLst/>
              <a:cxnLst/>
              <a:rect l="l" t="t" r="r" b="b"/>
              <a:pathLst>
                <a:path w="237954" h="833275" extrusionOk="0">
                  <a:moveTo>
                    <a:pt x="6013" y="123825"/>
                  </a:moveTo>
                  <a:cubicBezTo>
                    <a:pt x="12477" y="73342"/>
                    <a:pt x="31013" y="0"/>
                    <a:pt x="31013" y="0"/>
                  </a:cubicBezTo>
                  <a:cubicBezTo>
                    <a:pt x="48541" y="8201"/>
                    <a:pt x="67495" y="12897"/>
                    <a:pt x="86810" y="13811"/>
                  </a:cubicBezTo>
                  <a:cubicBezTo>
                    <a:pt x="115136" y="13716"/>
                    <a:pt x="143396" y="10973"/>
                    <a:pt x="171219" y="5620"/>
                  </a:cubicBezTo>
                  <a:cubicBezTo>
                    <a:pt x="180287" y="21517"/>
                    <a:pt x="190220" y="36909"/>
                    <a:pt x="200971" y="51721"/>
                  </a:cubicBezTo>
                  <a:cubicBezTo>
                    <a:pt x="215515" y="71914"/>
                    <a:pt x="243746" y="116109"/>
                    <a:pt x="236902" y="193357"/>
                  </a:cubicBezTo>
                  <a:cubicBezTo>
                    <a:pt x="232435" y="243840"/>
                    <a:pt x="204203" y="458248"/>
                    <a:pt x="204203" y="458248"/>
                  </a:cubicBezTo>
                  <a:cubicBezTo>
                    <a:pt x="215201" y="494290"/>
                    <a:pt x="221056" y="531714"/>
                    <a:pt x="221598" y="569405"/>
                  </a:cubicBezTo>
                  <a:cubicBezTo>
                    <a:pt x="218937" y="614229"/>
                    <a:pt x="213024" y="658796"/>
                    <a:pt x="203918" y="702755"/>
                  </a:cubicBezTo>
                  <a:lnTo>
                    <a:pt x="187093" y="824389"/>
                  </a:lnTo>
                  <a:cubicBezTo>
                    <a:pt x="187093" y="824389"/>
                    <a:pt x="164660" y="840676"/>
                    <a:pt x="149071" y="829151"/>
                  </a:cubicBezTo>
                  <a:lnTo>
                    <a:pt x="151067" y="710089"/>
                  </a:lnTo>
                  <a:cubicBezTo>
                    <a:pt x="149166" y="680942"/>
                    <a:pt x="146219" y="637984"/>
                    <a:pt x="144413" y="610552"/>
                  </a:cubicBezTo>
                  <a:cubicBezTo>
                    <a:pt x="141371" y="565785"/>
                    <a:pt x="133387" y="494824"/>
                    <a:pt x="131106" y="477202"/>
                  </a:cubicBezTo>
                  <a:cubicBezTo>
                    <a:pt x="128824" y="459581"/>
                    <a:pt x="123121" y="428434"/>
                    <a:pt x="120364" y="393763"/>
                  </a:cubicBezTo>
                  <a:cubicBezTo>
                    <a:pt x="117608" y="359092"/>
                    <a:pt x="104680" y="182594"/>
                    <a:pt x="104680" y="182594"/>
                  </a:cubicBezTo>
                  <a:lnTo>
                    <a:pt x="102874" y="215646"/>
                  </a:lnTo>
                  <a:cubicBezTo>
                    <a:pt x="102874" y="215646"/>
                    <a:pt x="101068" y="269272"/>
                    <a:pt x="93369" y="335470"/>
                  </a:cubicBezTo>
                  <a:cubicBezTo>
                    <a:pt x="85669" y="401669"/>
                    <a:pt x="83008" y="430720"/>
                    <a:pt x="83008" y="430720"/>
                  </a:cubicBezTo>
                  <a:cubicBezTo>
                    <a:pt x="90308" y="444074"/>
                    <a:pt x="95412" y="458514"/>
                    <a:pt x="98121" y="473488"/>
                  </a:cubicBezTo>
                  <a:cubicBezTo>
                    <a:pt x="99452" y="487775"/>
                    <a:pt x="115707" y="600932"/>
                    <a:pt x="106011" y="658463"/>
                  </a:cubicBezTo>
                  <a:lnTo>
                    <a:pt x="85954" y="804863"/>
                  </a:lnTo>
                  <a:cubicBezTo>
                    <a:pt x="75869" y="811882"/>
                    <a:pt x="63018" y="813587"/>
                    <a:pt x="51449" y="809434"/>
                  </a:cubicBezTo>
                  <a:lnTo>
                    <a:pt x="39663" y="661892"/>
                  </a:lnTo>
                  <a:cubicBezTo>
                    <a:pt x="31773" y="605790"/>
                    <a:pt x="15043" y="486823"/>
                    <a:pt x="12477" y="471392"/>
                  </a:cubicBezTo>
                  <a:cubicBezTo>
                    <a:pt x="6773" y="440226"/>
                    <a:pt x="3408" y="408670"/>
                    <a:pt x="2401" y="376999"/>
                  </a:cubicBezTo>
                  <a:cubicBezTo>
                    <a:pt x="-1782" y="312991"/>
                    <a:pt x="-451" y="174212"/>
                    <a:pt x="6013" y="12382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15"/>
            <p:cNvSpPr/>
            <p:nvPr/>
          </p:nvSpPr>
          <p:spPr>
            <a:xfrm>
              <a:off x="5803516" y="3708175"/>
              <a:ext cx="253612" cy="553963"/>
            </a:xfrm>
            <a:custGeom>
              <a:avLst/>
              <a:gdLst/>
              <a:ahLst/>
              <a:cxnLst/>
              <a:rect l="l" t="t" r="r" b="b"/>
              <a:pathLst>
                <a:path w="253612" h="553963" extrusionOk="0">
                  <a:moveTo>
                    <a:pt x="181386" y="6572"/>
                  </a:moveTo>
                  <a:lnTo>
                    <a:pt x="224731" y="93726"/>
                  </a:lnTo>
                  <a:cubicBezTo>
                    <a:pt x="224731" y="93726"/>
                    <a:pt x="291270" y="190690"/>
                    <a:pt x="222355" y="439960"/>
                  </a:cubicBezTo>
                  <a:lnTo>
                    <a:pt x="235187" y="516922"/>
                  </a:lnTo>
                  <a:cubicBezTo>
                    <a:pt x="235187" y="516922"/>
                    <a:pt x="105532" y="600265"/>
                    <a:pt x="18746" y="516922"/>
                  </a:cubicBezTo>
                  <a:cubicBezTo>
                    <a:pt x="18746" y="516922"/>
                    <a:pt x="-11291" y="286512"/>
                    <a:pt x="4678" y="180308"/>
                  </a:cubicBezTo>
                  <a:cubicBezTo>
                    <a:pt x="13613" y="119272"/>
                    <a:pt x="27121" y="59007"/>
                    <a:pt x="45077" y="0"/>
                  </a:cubicBezTo>
                  <a:cubicBezTo>
                    <a:pt x="45077" y="0"/>
                    <a:pt x="66369" y="23527"/>
                    <a:pt x="175683" y="8001"/>
                  </a:cubicBezTo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p15"/>
            <p:cNvSpPr/>
            <p:nvPr/>
          </p:nvSpPr>
          <p:spPr>
            <a:xfrm>
              <a:off x="5812662" y="3486508"/>
              <a:ext cx="71005" cy="74600"/>
            </a:xfrm>
            <a:custGeom>
              <a:avLst/>
              <a:gdLst/>
              <a:ahLst/>
              <a:cxnLst/>
              <a:rect l="l" t="t" r="r" b="b"/>
              <a:pathLst>
                <a:path w="71005" h="74600" extrusionOk="0">
                  <a:moveTo>
                    <a:pt x="71006" y="496"/>
                  </a:moveTo>
                  <a:cubicBezTo>
                    <a:pt x="71006" y="496"/>
                    <a:pt x="36596" y="-10077"/>
                    <a:pt x="0" y="66409"/>
                  </a:cubicBezTo>
                  <a:lnTo>
                    <a:pt x="13688" y="74600"/>
                  </a:lnTo>
                  <a:cubicBezTo>
                    <a:pt x="13688" y="74600"/>
                    <a:pt x="49714" y="20117"/>
                    <a:pt x="71006" y="49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15"/>
            <p:cNvSpPr/>
            <p:nvPr/>
          </p:nvSpPr>
          <p:spPr>
            <a:xfrm>
              <a:off x="5614947" y="3815235"/>
              <a:ext cx="254367" cy="147732"/>
            </a:xfrm>
            <a:custGeom>
              <a:avLst/>
              <a:gdLst/>
              <a:ahLst/>
              <a:cxnLst/>
              <a:rect l="l" t="t" r="r" b="b"/>
              <a:pathLst>
                <a:path w="254367" h="147732" extrusionOk="0">
                  <a:moveTo>
                    <a:pt x="0" y="86201"/>
                  </a:moveTo>
                  <a:lnTo>
                    <a:pt x="148096" y="0"/>
                  </a:lnTo>
                  <a:lnTo>
                    <a:pt x="254368" y="61436"/>
                  </a:lnTo>
                  <a:lnTo>
                    <a:pt x="106272" y="147733"/>
                  </a:lnTo>
                  <a:lnTo>
                    <a:pt x="0" y="8620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15"/>
            <p:cNvSpPr/>
            <p:nvPr/>
          </p:nvSpPr>
          <p:spPr>
            <a:xfrm>
              <a:off x="5694413" y="3821487"/>
              <a:ext cx="53706" cy="44771"/>
            </a:xfrm>
            <a:custGeom>
              <a:avLst/>
              <a:gdLst/>
              <a:ahLst/>
              <a:cxnLst/>
              <a:rect l="l" t="t" r="r" b="b"/>
              <a:pathLst>
                <a:path w="53706" h="44771" extrusionOk="0">
                  <a:moveTo>
                    <a:pt x="49524" y="35"/>
                  </a:moveTo>
                  <a:cubicBezTo>
                    <a:pt x="40237" y="968"/>
                    <a:pt x="31254" y="3892"/>
                    <a:pt x="23194" y="8607"/>
                  </a:cubicBezTo>
                  <a:cubicBezTo>
                    <a:pt x="20228" y="11198"/>
                    <a:pt x="17053" y="13522"/>
                    <a:pt x="13688" y="15561"/>
                  </a:cubicBezTo>
                  <a:cubicBezTo>
                    <a:pt x="12262" y="16227"/>
                    <a:pt x="10836" y="17180"/>
                    <a:pt x="9315" y="17846"/>
                  </a:cubicBezTo>
                  <a:cubicBezTo>
                    <a:pt x="7053" y="18675"/>
                    <a:pt x="5000" y="20009"/>
                    <a:pt x="3327" y="21752"/>
                  </a:cubicBezTo>
                  <a:cubicBezTo>
                    <a:pt x="1673" y="24200"/>
                    <a:pt x="780" y="27086"/>
                    <a:pt x="760" y="30038"/>
                  </a:cubicBezTo>
                  <a:cubicBezTo>
                    <a:pt x="0" y="33572"/>
                    <a:pt x="-190" y="37211"/>
                    <a:pt x="190" y="40802"/>
                  </a:cubicBezTo>
                  <a:cubicBezTo>
                    <a:pt x="1521" y="46136"/>
                    <a:pt x="7034" y="45660"/>
                    <a:pt x="9696" y="41945"/>
                  </a:cubicBezTo>
                  <a:cubicBezTo>
                    <a:pt x="11141" y="40088"/>
                    <a:pt x="11968" y="37821"/>
                    <a:pt x="12072" y="35468"/>
                  </a:cubicBezTo>
                  <a:cubicBezTo>
                    <a:pt x="12234" y="30905"/>
                    <a:pt x="14562" y="26686"/>
                    <a:pt x="18346" y="24133"/>
                  </a:cubicBezTo>
                  <a:lnTo>
                    <a:pt x="53706" y="2130"/>
                  </a:lnTo>
                  <a:cubicBezTo>
                    <a:pt x="52870" y="644"/>
                    <a:pt x="51216" y="-184"/>
                    <a:pt x="49524" y="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15"/>
            <p:cNvSpPr/>
            <p:nvPr/>
          </p:nvSpPr>
          <p:spPr>
            <a:xfrm>
              <a:off x="5775008" y="3530248"/>
              <a:ext cx="253611" cy="322722"/>
            </a:xfrm>
            <a:custGeom>
              <a:avLst/>
              <a:gdLst/>
              <a:ahLst/>
              <a:cxnLst/>
              <a:rect l="l" t="t" r="r" b="b"/>
              <a:pathLst>
                <a:path w="253611" h="322722" extrusionOk="0">
                  <a:moveTo>
                    <a:pt x="250673" y="25527"/>
                  </a:moveTo>
                  <a:cubicBezTo>
                    <a:pt x="245826" y="5334"/>
                    <a:pt x="230046" y="11811"/>
                    <a:pt x="216453" y="0"/>
                  </a:cubicBezTo>
                  <a:cubicBezTo>
                    <a:pt x="184990" y="44672"/>
                    <a:pt x="205902" y="165449"/>
                    <a:pt x="210180" y="178308"/>
                  </a:cubicBezTo>
                  <a:lnTo>
                    <a:pt x="89270" y="255556"/>
                  </a:lnTo>
                  <a:lnTo>
                    <a:pt x="89270" y="255556"/>
                  </a:lnTo>
                  <a:lnTo>
                    <a:pt x="81095" y="260604"/>
                  </a:lnTo>
                  <a:cubicBezTo>
                    <a:pt x="67331" y="269662"/>
                    <a:pt x="52131" y="276301"/>
                    <a:pt x="36134" y="280225"/>
                  </a:cubicBezTo>
                  <a:cubicBezTo>
                    <a:pt x="24062" y="281654"/>
                    <a:pt x="17788" y="298704"/>
                    <a:pt x="4860" y="300228"/>
                  </a:cubicBezTo>
                  <a:cubicBezTo>
                    <a:pt x="2075" y="300333"/>
                    <a:pt x="-92" y="302666"/>
                    <a:pt x="3" y="305457"/>
                  </a:cubicBezTo>
                  <a:cubicBezTo>
                    <a:pt x="51" y="306753"/>
                    <a:pt x="602" y="307991"/>
                    <a:pt x="1533" y="308896"/>
                  </a:cubicBezTo>
                  <a:cubicBezTo>
                    <a:pt x="6667" y="313849"/>
                    <a:pt x="20545" y="309753"/>
                    <a:pt x="30050" y="298704"/>
                  </a:cubicBezTo>
                  <a:cubicBezTo>
                    <a:pt x="30002" y="298952"/>
                    <a:pt x="30002" y="299218"/>
                    <a:pt x="30050" y="299466"/>
                  </a:cubicBezTo>
                  <a:cubicBezTo>
                    <a:pt x="30202" y="303057"/>
                    <a:pt x="32227" y="306314"/>
                    <a:pt x="35373" y="308038"/>
                  </a:cubicBezTo>
                  <a:cubicBezTo>
                    <a:pt x="36067" y="308458"/>
                    <a:pt x="36846" y="308724"/>
                    <a:pt x="37655" y="308800"/>
                  </a:cubicBezTo>
                  <a:cubicBezTo>
                    <a:pt x="37655" y="309610"/>
                    <a:pt x="37883" y="310401"/>
                    <a:pt x="38320" y="311087"/>
                  </a:cubicBezTo>
                  <a:cubicBezTo>
                    <a:pt x="39708" y="313925"/>
                    <a:pt x="42417" y="315887"/>
                    <a:pt x="45544" y="316325"/>
                  </a:cubicBezTo>
                  <a:lnTo>
                    <a:pt x="45544" y="316325"/>
                  </a:lnTo>
                  <a:cubicBezTo>
                    <a:pt x="46941" y="320335"/>
                    <a:pt x="50820" y="322945"/>
                    <a:pt x="55050" y="322707"/>
                  </a:cubicBezTo>
                  <a:cubicBezTo>
                    <a:pt x="57825" y="322564"/>
                    <a:pt x="60439" y="321373"/>
                    <a:pt x="62369" y="319373"/>
                  </a:cubicBezTo>
                  <a:cubicBezTo>
                    <a:pt x="72682" y="315430"/>
                    <a:pt x="81789" y="308867"/>
                    <a:pt x="88794" y="300323"/>
                  </a:cubicBezTo>
                  <a:cubicBezTo>
                    <a:pt x="94982" y="293875"/>
                    <a:pt x="101522" y="287769"/>
                    <a:pt x="108375" y="282035"/>
                  </a:cubicBezTo>
                  <a:cubicBezTo>
                    <a:pt x="141170" y="267843"/>
                    <a:pt x="239552" y="225742"/>
                    <a:pt x="243924" y="219742"/>
                  </a:cubicBezTo>
                  <a:cubicBezTo>
                    <a:pt x="250768" y="210693"/>
                    <a:pt x="257707" y="54102"/>
                    <a:pt x="250673" y="2552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15"/>
            <p:cNvSpPr/>
            <p:nvPr/>
          </p:nvSpPr>
          <p:spPr>
            <a:xfrm>
              <a:off x="5965891" y="3514431"/>
              <a:ext cx="72720" cy="103595"/>
            </a:xfrm>
            <a:custGeom>
              <a:avLst/>
              <a:gdLst/>
              <a:ahLst/>
              <a:cxnLst/>
              <a:rect l="l" t="t" r="r" b="b"/>
              <a:pathLst>
                <a:path w="72720" h="103595" extrusionOk="0">
                  <a:moveTo>
                    <a:pt x="70816" y="95541"/>
                  </a:moveTo>
                  <a:cubicBezTo>
                    <a:pt x="70816" y="95541"/>
                    <a:pt x="32129" y="112876"/>
                    <a:pt x="0" y="96684"/>
                  </a:cubicBezTo>
                  <a:lnTo>
                    <a:pt x="4658" y="36009"/>
                  </a:lnTo>
                  <a:cubicBezTo>
                    <a:pt x="4658" y="36009"/>
                    <a:pt x="5133" y="3434"/>
                    <a:pt x="34125" y="195"/>
                  </a:cubicBezTo>
                  <a:cubicBezTo>
                    <a:pt x="63117" y="-3043"/>
                    <a:pt x="78325" y="34200"/>
                    <a:pt x="70816" y="9554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0" name="Google Shape;500;p15"/>
            <p:cNvGrpSpPr/>
            <p:nvPr/>
          </p:nvGrpSpPr>
          <p:grpSpPr>
            <a:xfrm flipH="1">
              <a:off x="2865273" y="3434801"/>
              <a:ext cx="598186" cy="1340314"/>
              <a:chOff x="4210728" y="4525714"/>
              <a:chExt cx="546438" cy="1224366"/>
            </a:xfrm>
          </p:grpSpPr>
          <p:sp>
            <p:nvSpPr>
              <p:cNvPr id="501" name="Google Shape;501;p15"/>
              <p:cNvSpPr/>
              <p:nvPr/>
            </p:nvSpPr>
            <p:spPr>
              <a:xfrm>
                <a:off x="4672107" y="4726590"/>
                <a:ext cx="85002" cy="305847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502;p15"/>
              <p:cNvSpPr/>
              <p:nvPr/>
            </p:nvSpPr>
            <p:spPr>
              <a:xfrm>
                <a:off x="4408366" y="5679962"/>
                <a:ext cx="123900" cy="70118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503;p15"/>
              <p:cNvSpPr/>
              <p:nvPr/>
            </p:nvSpPr>
            <p:spPr>
              <a:xfrm>
                <a:off x="4408245" y="5691663"/>
                <a:ext cx="121939" cy="58416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15"/>
              <p:cNvSpPr/>
              <p:nvPr/>
            </p:nvSpPr>
            <p:spPr>
              <a:xfrm>
                <a:off x="4566152" y="5600798"/>
                <a:ext cx="119416" cy="67472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505;p15"/>
              <p:cNvSpPr/>
              <p:nvPr/>
            </p:nvSpPr>
            <p:spPr>
              <a:xfrm>
                <a:off x="4566197" y="5611939"/>
                <a:ext cx="117340" cy="56332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5"/>
              <p:cNvSpPr/>
              <p:nvPr/>
            </p:nvSpPr>
            <p:spPr>
              <a:xfrm>
                <a:off x="4483409" y="4968525"/>
                <a:ext cx="238054" cy="732926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15"/>
              <p:cNvSpPr/>
              <p:nvPr/>
            </p:nvSpPr>
            <p:spPr>
              <a:xfrm>
                <a:off x="4484426" y="4968525"/>
                <a:ext cx="236925" cy="409866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15"/>
              <p:cNvSpPr/>
              <p:nvPr/>
            </p:nvSpPr>
            <p:spPr>
              <a:xfrm>
                <a:off x="4531702" y="4525767"/>
                <a:ext cx="160521" cy="258577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15"/>
              <p:cNvSpPr/>
              <p:nvPr/>
            </p:nvSpPr>
            <p:spPr>
              <a:xfrm>
                <a:off x="4695825" y="4756088"/>
                <a:ext cx="61341" cy="108805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15"/>
              <p:cNvSpPr/>
              <p:nvPr/>
            </p:nvSpPr>
            <p:spPr>
              <a:xfrm>
                <a:off x="4523612" y="4724507"/>
                <a:ext cx="191546" cy="273865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15"/>
              <p:cNvSpPr/>
              <p:nvPr/>
            </p:nvSpPr>
            <p:spPr>
              <a:xfrm>
                <a:off x="4210728" y="4780936"/>
                <a:ext cx="368747" cy="265455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15"/>
              <p:cNvSpPr/>
              <p:nvPr/>
            </p:nvSpPr>
            <p:spPr>
              <a:xfrm>
                <a:off x="4484370" y="4765472"/>
                <a:ext cx="100785" cy="104755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15"/>
              <p:cNvSpPr/>
              <p:nvPr/>
            </p:nvSpPr>
            <p:spPr>
              <a:xfrm>
                <a:off x="4524935" y="4525714"/>
                <a:ext cx="201012" cy="328692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Google Shape;518;p16"/>
          <p:cNvSpPr txBox="1">
            <a:spLocks noGrp="1"/>
          </p:cNvSpPr>
          <p:nvPr>
            <p:ph type="body" idx="1"/>
          </p:nvPr>
        </p:nvSpPr>
        <p:spPr>
          <a:xfrm>
            <a:off x="1039050" y="1755343"/>
            <a:ext cx="4742700" cy="285288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2540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</a:rPr>
              <a:t>Data are becoming the new raw material of business."</a:t>
            </a:r>
            <a:b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</a:br>
            <a:br>
              <a:rPr kumimoji="0" lang="en-US" altLang="en-US" sz="4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  <a:cs typeface="Montserrat" panose="020B0604020202020204" charset="0"/>
              </a:rPr>
              <a:t>– BY CRAIG MUNDIE, SENIOR ADVISOR TO THE CEO AT MICROSOFT</a:t>
            </a: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endParaRPr kumimoji="0" lang="en-US" altLang="en-US" sz="4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19" name="Google Shape;519;p1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4</a:t>
            </a:fld>
            <a:endParaRPr/>
          </a:p>
        </p:txBody>
      </p:sp>
      <p:grpSp>
        <p:nvGrpSpPr>
          <p:cNvPr id="520" name="Google Shape;520;p16"/>
          <p:cNvGrpSpPr/>
          <p:nvPr/>
        </p:nvGrpSpPr>
        <p:grpSpPr>
          <a:xfrm>
            <a:off x="6230973" y="930400"/>
            <a:ext cx="2318495" cy="3612478"/>
            <a:chOff x="6661328" y="2103554"/>
            <a:chExt cx="850574" cy="1325339"/>
          </a:xfrm>
        </p:grpSpPr>
        <p:sp>
          <p:nvSpPr>
            <p:cNvPr id="521" name="Google Shape;521;p16"/>
            <p:cNvSpPr/>
            <p:nvPr/>
          </p:nvSpPr>
          <p:spPr>
            <a:xfrm>
              <a:off x="7216759" y="3070053"/>
              <a:ext cx="247057" cy="142875"/>
            </a:xfrm>
            <a:custGeom>
              <a:avLst/>
              <a:gdLst/>
              <a:ahLst/>
              <a:cxnLst/>
              <a:rect l="l" t="t" r="r" b="b"/>
              <a:pathLst>
                <a:path w="658819" h="381000" extrusionOk="0">
                  <a:moveTo>
                    <a:pt x="658819" y="190500"/>
                  </a:moveTo>
                  <a:cubicBezTo>
                    <a:pt x="658819" y="295710"/>
                    <a:pt x="511337" y="381000"/>
                    <a:pt x="329409" y="381000"/>
                  </a:cubicBezTo>
                  <a:cubicBezTo>
                    <a:pt x="147482" y="381000"/>
                    <a:pt x="0" y="295710"/>
                    <a:pt x="0" y="190500"/>
                  </a:cubicBezTo>
                  <a:cubicBezTo>
                    <a:pt x="0" y="85290"/>
                    <a:pt x="147481" y="0"/>
                    <a:pt x="329409" y="0"/>
                  </a:cubicBezTo>
                  <a:cubicBezTo>
                    <a:pt x="511337" y="0"/>
                    <a:pt x="658819" y="85290"/>
                    <a:pt x="658819" y="190500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522;p16"/>
            <p:cNvSpPr/>
            <p:nvPr/>
          </p:nvSpPr>
          <p:spPr>
            <a:xfrm>
              <a:off x="7342016" y="3123138"/>
              <a:ext cx="71660" cy="55453"/>
            </a:xfrm>
            <a:custGeom>
              <a:avLst/>
              <a:gdLst/>
              <a:ahLst/>
              <a:cxnLst/>
              <a:rect l="l" t="t" r="r" b="b"/>
              <a:pathLst>
                <a:path w="191092" h="147874" extrusionOk="0">
                  <a:moveTo>
                    <a:pt x="175923" y="5"/>
                  </a:moveTo>
                  <a:cubicBezTo>
                    <a:pt x="153005" y="19055"/>
                    <a:pt x="118866" y="1625"/>
                    <a:pt x="117534" y="3339"/>
                  </a:cubicBezTo>
                  <a:cubicBezTo>
                    <a:pt x="90651" y="28352"/>
                    <a:pt x="62427" y="51879"/>
                    <a:pt x="32995" y="73824"/>
                  </a:cubicBezTo>
                  <a:cubicBezTo>
                    <a:pt x="18731" y="85064"/>
                    <a:pt x="-3522" y="100113"/>
                    <a:pt x="472" y="121449"/>
                  </a:cubicBezTo>
                  <a:cubicBezTo>
                    <a:pt x="7699" y="160121"/>
                    <a:pt x="69511" y="148214"/>
                    <a:pt x="92810" y="136403"/>
                  </a:cubicBezTo>
                  <a:cubicBezTo>
                    <a:pt x="116108" y="124592"/>
                    <a:pt x="135127" y="104971"/>
                    <a:pt x="157189" y="91255"/>
                  </a:cubicBezTo>
                  <a:cubicBezTo>
                    <a:pt x="172975" y="81730"/>
                    <a:pt x="188475" y="76396"/>
                    <a:pt x="190948" y="56489"/>
                  </a:cubicBezTo>
                  <a:cubicBezTo>
                    <a:pt x="192564" y="44678"/>
                    <a:pt x="180202" y="-566"/>
                    <a:pt x="175923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3" name="Google Shape;523;p16"/>
            <p:cNvSpPr/>
            <p:nvPr/>
          </p:nvSpPr>
          <p:spPr>
            <a:xfrm>
              <a:off x="7342406" y="3141358"/>
              <a:ext cx="71304" cy="37263"/>
            </a:xfrm>
            <a:custGeom>
              <a:avLst/>
              <a:gdLst/>
              <a:ahLst/>
              <a:cxnLst/>
              <a:rect l="l" t="t" r="r" b="b"/>
              <a:pathLst>
                <a:path w="190145" h="99367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9" y="47911"/>
                    <a:pt x="113639" y="68104"/>
                    <a:pt x="90340" y="79915"/>
                  </a:cubicBezTo>
                  <a:cubicBezTo>
                    <a:pt x="68849" y="90774"/>
                    <a:pt x="15120" y="101632"/>
                    <a:pt x="0" y="74009"/>
                  </a:cubicBezTo>
                  <a:cubicBezTo>
                    <a:pt x="8178" y="111347"/>
                    <a:pt x="68849" y="99632"/>
                    <a:pt x="91957" y="87916"/>
                  </a:cubicBezTo>
                  <a:cubicBezTo>
                    <a:pt x="115065" y="76200"/>
                    <a:pt x="134275" y="56483"/>
                    <a:pt x="156336" y="42767"/>
                  </a:cubicBezTo>
                  <a:cubicBezTo>
                    <a:pt x="172122" y="33242"/>
                    <a:pt x="187623" y="27908"/>
                    <a:pt x="190095" y="8001"/>
                  </a:cubicBezTo>
                  <a:cubicBezTo>
                    <a:pt x="190229" y="5325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4" name="Google Shape;524;p16"/>
            <p:cNvSpPr/>
            <p:nvPr/>
          </p:nvSpPr>
          <p:spPr>
            <a:xfrm>
              <a:off x="7268719" y="3095364"/>
              <a:ext cx="71613" cy="53417"/>
            </a:xfrm>
            <a:custGeom>
              <a:avLst/>
              <a:gdLst/>
              <a:ahLst/>
              <a:cxnLst/>
              <a:rect l="l" t="t" r="r" b="b"/>
              <a:pathLst>
                <a:path w="190969" h="142446" extrusionOk="0">
                  <a:moveTo>
                    <a:pt x="173186" y="102"/>
                  </a:moveTo>
                  <a:cubicBezTo>
                    <a:pt x="150268" y="19152"/>
                    <a:pt x="110138" y="-1613"/>
                    <a:pt x="108522" y="102"/>
                  </a:cubicBezTo>
                  <a:cubicBezTo>
                    <a:pt x="84624" y="24276"/>
                    <a:pt x="59386" y="47079"/>
                    <a:pt x="32921" y="68396"/>
                  </a:cubicBezTo>
                  <a:cubicBezTo>
                    <a:pt x="18657" y="79636"/>
                    <a:pt x="-3596" y="94685"/>
                    <a:pt x="493" y="116021"/>
                  </a:cubicBezTo>
                  <a:cubicBezTo>
                    <a:pt x="7626" y="154693"/>
                    <a:pt x="69437" y="142786"/>
                    <a:pt x="92736" y="130975"/>
                  </a:cubicBezTo>
                  <a:cubicBezTo>
                    <a:pt x="116034" y="119164"/>
                    <a:pt x="135148" y="99543"/>
                    <a:pt x="157210" y="85827"/>
                  </a:cubicBezTo>
                  <a:cubicBezTo>
                    <a:pt x="172901" y="76302"/>
                    <a:pt x="188402" y="70968"/>
                    <a:pt x="190874" y="51061"/>
                  </a:cubicBezTo>
                  <a:cubicBezTo>
                    <a:pt x="192300" y="39249"/>
                    <a:pt x="177275" y="-374"/>
                    <a:pt x="173186" y="10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5" name="Google Shape;525;p16"/>
            <p:cNvSpPr/>
            <p:nvPr/>
          </p:nvSpPr>
          <p:spPr>
            <a:xfrm>
              <a:off x="7268869" y="3112444"/>
              <a:ext cx="71304" cy="37267"/>
            </a:xfrm>
            <a:custGeom>
              <a:avLst/>
              <a:gdLst/>
              <a:ahLst/>
              <a:cxnLst/>
              <a:rect l="l" t="t" r="r" b="b"/>
              <a:pathLst>
                <a:path w="190145" h="99378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8" y="48006"/>
                    <a:pt x="113639" y="68104"/>
                    <a:pt x="90340" y="79915"/>
                  </a:cubicBezTo>
                  <a:cubicBezTo>
                    <a:pt x="68849" y="90869"/>
                    <a:pt x="15120" y="101727"/>
                    <a:pt x="0" y="74104"/>
                  </a:cubicBezTo>
                  <a:cubicBezTo>
                    <a:pt x="8178" y="111347"/>
                    <a:pt x="68944" y="99631"/>
                    <a:pt x="91957" y="87916"/>
                  </a:cubicBezTo>
                  <a:cubicBezTo>
                    <a:pt x="114970" y="76200"/>
                    <a:pt x="134274" y="56579"/>
                    <a:pt x="156431" y="42767"/>
                  </a:cubicBezTo>
                  <a:cubicBezTo>
                    <a:pt x="172122" y="33242"/>
                    <a:pt x="187622" y="27908"/>
                    <a:pt x="190095" y="8001"/>
                  </a:cubicBezTo>
                  <a:cubicBezTo>
                    <a:pt x="190228" y="5324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6" name="Google Shape;526;p16"/>
            <p:cNvSpPr/>
            <p:nvPr/>
          </p:nvSpPr>
          <p:spPr>
            <a:xfrm>
              <a:off x="7286737" y="2775175"/>
              <a:ext cx="123184" cy="353826"/>
            </a:xfrm>
            <a:custGeom>
              <a:avLst/>
              <a:gdLst/>
              <a:ahLst/>
              <a:cxnLst/>
              <a:rect l="l" t="t" r="r" b="b"/>
              <a:pathLst>
                <a:path w="328490" h="943536" extrusionOk="0">
                  <a:moveTo>
                    <a:pt x="324560" y="81915"/>
                  </a:moveTo>
                  <a:cubicBezTo>
                    <a:pt x="323514" y="116681"/>
                    <a:pt x="312673" y="267367"/>
                    <a:pt x="307918" y="347091"/>
                  </a:cubicBezTo>
                  <a:cubicBezTo>
                    <a:pt x="303163" y="426815"/>
                    <a:pt x="301927" y="524637"/>
                    <a:pt x="301927" y="524637"/>
                  </a:cubicBezTo>
                  <a:cubicBezTo>
                    <a:pt x="301927" y="524637"/>
                    <a:pt x="315716" y="582740"/>
                    <a:pt x="324560" y="651034"/>
                  </a:cubicBezTo>
                  <a:cubicBezTo>
                    <a:pt x="333403" y="719328"/>
                    <a:pt x="324560" y="934879"/>
                    <a:pt x="324560" y="934879"/>
                  </a:cubicBezTo>
                  <a:cubicBezTo>
                    <a:pt x="306701" y="946423"/>
                    <a:pt x="283745" y="946423"/>
                    <a:pt x="265886" y="934879"/>
                  </a:cubicBezTo>
                  <a:cubicBezTo>
                    <a:pt x="265886" y="934879"/>
                    <a:pt x="229274" y="762381"/>
                    <a:pt x="212252" y="684657"/>
                  </a:cubicBezTo>
                  <a:cubicBezTo>
                    <a:pt x="195230" y="606933"/>
                    <a:pt x="192378" y="562166"/>
                    <a:pt x="183724" y="513969"/>
                  </a:cubicBezTo>
                  <a:cubicBezTo>
                    <a:pt x="173073" y="455676"/>
                    <a:pt x="150060" y="183642"/>
                    <a:pt x="150060" y="183642"/>
                  </a:cubicBezTo>
                  <a:lnTo>
                    <a:pt x="140551" y="184214"/>
                  </a:lnTo>
                  <a:lnTo>
                    <a:pt x="116206" y="491490"/>
                  </a:lnTo>
                  <a:cubicBezTo>
                    <a:pt x="123766" y="514131"/>
                    <a:pt x="128959" y="537496"/>
                    <a:pt x="131707" y="561213"/>
                  </a:cubicBezTo>
                  <a:cubicBezTo>
                    <a:pt x="138363" y="611219"/>
                    <a:pt x="124670" y="862870"/>
                    <a:pt x="124670" y="862870"/>
                  </a:cubicBezTo>
                  <a:cubicBezTo>
                    <a:pt x="104700" y="873966"/>
                    <a:pt x="80213" y="872938"/>
                    <a:pt x="61241" y="860203"/>
                  </a:cubicBezTo>
                  <a:cubicBezTo>
                    <a:pt x="61241" y="860203"/>
                    <a:pt x="0" y="526828"/>
                    <a:pt x="0" y="476250"/>
                  </a:cubicBezTo>
                  <a:cubicBezTo>
                    <a:pt x="0" y="442722"/>
                    <a:pt x="5706" y="0"/>
                    <a:pt x="5706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7" name="Google Shape;527;p16"/>
            <p:cNvSpPr/>
            <p:nvPr/>
          </p:nvSpPr>
          <p:spPr>
            <a:xfrm>
              <a:off x="7314533" y="2554952"/>
              <a:ext cx="78868" cy="76871"/>
            </a:xfrm>
            <a:custGeom>
              <a:avLst/>
              <a:gdLst/>
              <a:ahLst/>
              <a:cxnLst/>
              <a:rect l="l" t="t" r="r" b="b"/>
              <a:pathLst>
                <a:path w="210314" h="204988" extrusionOk="0">
                  <a:moveTo>
                    <a:pt x="167279" y="0"/>
                  </a:moveTo>
                  <a:cubicBezTo>
                    <a:pt x="167279" y="0"/>
                    <a:pt x="163380" y="75629"/>
                    <a:pt x="165092" y="82391"/>
                  </a:cubicBezTo>
                  <a:cubicBezTo>
                    <a:pt x="166804" y="89154"/>
                    <a:pt x="199707" y="110966"/>
                    <a:pt x="209312" y="119158"/>
                  </a:cubicBezTo>
                  <a:cubicBezTo>
                    <a:pt x="218916" y="127349"/>
                    <a:pt x="157104" y="188214"/>
                    <a:pt x="127054" y="202025"/>
                  </a:cubicBezTo>
                  <a:cubicBezTo>
                    <a:pt x="97004" y="215836"/>
                    <a:pt x="1719" y="179451"/>
                    <a:pt x="102" y="132588"/>
                  </a:cubicBezTo>
                  <a:cubicBezTo>
                    <a:pt x="-1515" y="85725"/>
                    <a:pt x="16363" y="46387"/>
                    <a:pt x="31008" y="44291"/>
                  </a:cubicBezTo>
                  <a:cubicBezTo>
                    <a:pt x="45653" y="42196"/>
                    <a:pt x="167279" y="0"/>
                    <a:pt x="16727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" name="Google Shape;528;p16"/>
            <p:cNvSpPr/>
            <p:nvPr/>
          </p:nvSpPr>
          <p:spPr>
            <a:xfrm>
              <a:off x="7190170" y="2579409"/>
              <a:ext cx="118999" cy="169986"/>
            </a:xfrm>
            <a:custGeom>
              <a:avLst/>
              <a:gdLst/>
              <a:ahLst/>
              <a:cxnLst/>
              <a:rect l="l" t="t" r="r" b="b"/>
              <a:pathLst>
                <a:path w="317332" h="453297" extrusionOk="0">
                  <a:moveTo>
                    <a:pt x="317332" y="2194"/>
                  </a:moveTo>
                  <a:cubicBezTo>
                    <a:pt x="317332" y="2194"/>
                    <a:pt x="296887" y="-29144"/>
                    <a:pt x="222237" y="145069"/>
                  </a:cubicBezTo>
                  <a:cubicBezTo>
                    <a:pt x="147588" y="319281"/>
                    <a:pt x="101562" y="365001"/>
                    <a:pt x="68088" y="408340"/>
                  </a:cubicBezTo>
                  <a:cubicBezTo>
                    <a:pt x="37848" y="447773"/>
                    <a:pt x="22918" y="385099"/>
                    <a:pt x="22918" y="385099"/>
                  </a:cubicBezTo>
                  <a:cubicBezTo>
                    <a:pt x="22918" y="385099"/>
                    <a:pt x="46977" y="354714"/>
                    <a:pt x="26912" y="354714"/>
                  </a:cubicBezTo>
                  <a:cubicBezTo>
                    <a:pt x="15691" y="355381"/>
                    <a:pt x="0" y="378526"/>
                    <a:pt x="0" y="378526"/>
                  </a:cubicBezTo>
                  <a:lnTo>
                    <a:pt x="25581" y="419484"/>
                  </a:lnTo>
                  <a:lnTo>
                    <a:pt x="92147" y="453298"/>
                  </a:lnTo>
                  <a:cubicBezTo>
                    <a:pt x="92147" y="453298"/>
                    <a:pt x="173644" y="378241"/>
                    <a:pt x="199985" y="331949"/>
                  </a:cubicBezTo>
                  <a:cubicBezTo>
                    <a:pt x="228514" y="295468"/>
                    <a:pt x="271211" y="223078"/>
                    <a:pt x="271211" y="223078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9" name="Google Shape;529;p16"/>
            <p:cNvSpPr/>
            <p:nvPr/>
          </p:nvSpPr>
          <p:spPr>
            <a:xfrm>
              <a:off x="7180686" y="2720915"/>
              <a:ext cx="56790" cy="37169"/>
            </a:xfrm>
            <a:custGeom>
              <a:avLst/>
              <a:gdLst/>
              <a:ahLst/>
              <a:cxnLst/>
              <a:rect l="l" t="t" r="r" b="b"/>
              <a:pathLst>
                <a:path w="151441" h="99116" extrusionOk="0">
                  <a:moveTo>
                    <a:pt x="25622" y="35807"/>
                  </a:moveTo>
                  <a:cubicBezTo>
                    <a:pt x="24861" y="35236"/>
                    <a:pt x="4986" y="12090"/>
                    <a:pt x="4986" y="12090"/>
                  </a:cubicBezTo>
                  <a:cubicBezTo>
                    <a:pt x="4986" y="12090"/>
                    <a:pt x="-6901" y="1708"/>
                    <a:pt x="6032" y="946"/>
                  </a:cubicBezTo>
                  <a:cubicBezTo>
                    <a:pt x="18965" y="184"/>
                    <a:pt x="65086" y="89"/>
                    <a:pt x="65086" y="89"/>
                  </a:cubicBezTo>
                  <a:cubicBezTo>
                    <a:pt x="69803" y="-369"/>
                    <a:pt x="74510" y="955"/>
                    <a:pt x="78305" y="3803"/>
                  </a:cubicBezTo>
                  <a:cubicBezTo>
                    <a:pt x="84105" y="8375"/>
                    <a:pt x="150957" y="93148"/>
                    <a:pt x="150957" y="93148"/>
                  </a:cubicBezTo>
                  <a:cubicBezTo>
                    <a:pt x="150957" y="93148"/>
                    <a:pt x="153905" y="98291"/>
                    <a:pt x="145252" y="98863"/>
                  </a:cubicBezTo>
                  <a:cubicBezTo>
                    <a:pt x="136598" y="99434"/>
                    <a:pt x="80587" y="98863"/>
                    <a:pt x="80587" y="98863"/>
                  </a:cubicBezTo>
                  <a:close/>
                </a:path>
              </a:pathLst>
            </a:custGeom>
            <a:solidFill>
              <a:srgbClr val="20232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0" name="Google Shape;530;p16"/>
            <p:cNvSpPr/>
            <p:nvPr/>
          </p:nvSpPr>
          <p:spPr>
            <a:xfrm>
              <a:off x="7182331" y="2728860"/>
              <a:ext cx="37082" cy="30910"/>
            </a:xfrm>
            <a:custGeom>
              <a:avLst/>
              <a:gdLst/>
              <a:ahLst/>
              <a:cxnLst/>
              <a:rect l="l" t="t" r="r" b="b"/>
              <a:pathLst>
                <a:path w="98885" h="82426" extrusionOk="0">
                  <a:moveTo>
                    <a:pt x="15807" y="295"/>
                  </a:moveTo>
                  <a:cubicBezTo>
                    <a:pt x="15807" y="295"/>
                    <a:pt x="-3878" y="-3420"/>
                    <a:pt x="687" y="15534"/>
                  </a:cubicBezTo>
                  <a:cubicBezTo>
                    <a:pt x="5251" y="34489"/>
                    <a:pt x="33495" y="54111"/>
                    <a:pt x="33495" y="54111"/>
                  </a:cubicBezTo>
                  <a:lnTo>
                    <a:pt x="62974" y="78876"/>
                  </a:lnTo>
                  <a:cubicBezTo>
                    <a:pt x="70334" y="83610"/>
                    <a:pt x="79768" y="83610"/>
                    <a:pt x="87128" y="78876"/>
                  </a:cubicBezTo>
                  <a:cubicBezTo>
                    <a:pt x="94736" y="74113"/>
                    <a:pt x="105387" y="61159"/>
                    <a:pt x="93690" y="48872"/>
                  </a:cubicBezTo>
                  <a:cubicBezTo>
                    <a:pt x="81993" y="36585"/>
                    <a:pt x="71533" y="9629"/>
                    <a:pt x="41673" y="10772"/>
                  </a:cubicBezTo>
                  <a:cubicBezTo>
                    <a:pt x="41673" y="10772"/>
                    <a:pt x="40056" y="3628"/>
                    <a:pt x="22654" y="1247"/>
                  </a:cubicBezTo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1" name="Google Shape;531;p16"/>
            <p:cNvSpPr/>
            <p:nvPr/>
          </p:nvSpPr>
          <p:spPr>
            <a:xfrm>
              <a:off x="7286654" y="2565698"/>
              <a:ext cx="128280" cy="258276"/>
            </a:xfrm>
            <a:custGeom>
              <a:avLst/>
              <a:gdLst/>
              <a:ahLst/>
              <a:cxnLst/>
              <a:rect l="l" t="t" r="r" b="b"/>
              <a:pathLst>
                <a:path w="342080" h="688737" extrusionOk="0">
                  <a:moveTo>
                    <a:pt x="250227" y="66733"/>
                  </a:moveTo>
                  <a:cubicBezTo>
                    <a:pt x="250227" y="66733"/>
                    <a:pt x="195357" y="148457"/>
                    <a:pt x="118901" y="156172"/>
                  </a:cubicBezTo>
                  <a:cubicBezTo>
                    <a:pt x="94841" y="132360"/>
                    <a:pt x="92654" y="47683"/>
                    <a:pt x="126033" y="20632"/>
                  </a:cubicBezTo>
                  <a:cubicBezTo>
                    <a:pt x="126033" y="20632"/>
                    <a:pt x="95317" y="-4229"/>
                    <a:pt x="74301" y="629"/>
                  </a:cubicBezTo>
                  <a:cubicBezTo>
                    <a:pt x="49433" y="14088"/>
                    <a:pt x="30395" y="36272"/>
                    <a:pt x="20857" y="62923"/>
                  </a:cubicBezTo>
                  <a:cubicBezTo>
                    <a:pt x="6783" y="106071"/>
                    <a:pt x="-1110" y="155792"/>
                    <a:pt x="126" y="236087"/>
                  </a:cubicBezTo>
                  <a:cubicBezTo>
                    <a:pt x="1363" y="316383"/>
                    <a:pt x="126" y="561557"/>
                    <a:pt x="126" y="561557"/>
                  </a:cubicBezTo>
                  <a:cubicBezTo>
                    <a:pt x="126" y="561557"/>
                    <a:pt x="10967" y="613468"/>
                    <a:pt x="80102" y="652044"/>
                  </a:cubicBezTo>
                  <a:cubicBezTo>
                    <a:pt x="149236" y="690620"/>
                    <a:pt x="200207" y="694335"/>
                    <a:pt x="247754" y="683381"/>
                  </a:cubicBezTo>
                  <a:cubicBezTo>
                    <a:pt x="286458" y="674333"/>
                    <a:pt x="318410" y="660712"/>
                    <a:pt x="331723" y="632613"/>
                  </a:cubicBezTo>
                  <a:cubicBezTo>
                    <a:pt x="328300" y="576320"/>
                    <a:pt x="303195" y="429540"/>
                    <a:pt x="312704" y="358769"/>
                  </a:cubicBezTo>
                  <a:cubicBezTo>
                    <a:pt x="322214" y="287999"/>
                    <a:pt x="336954" y="234944"/>
                    <a:pt x="341233" y="177794"/>
                  </a:cubicBezTo>
                  <a:cubicBezTo>
                    <a:pt x="345512" y="120644"/>
                    <a:pt x="333625" y="121692"/>
                    <a:pt x="305001" y="101594"/>
                  </a:cubicBezTo>
                  <a:cubicBezTo>
                    <a:pt x="287618" y="88650"/>
                    <a:pt x="269312" y="77001"/>
                    <a:pt x="250227" y="6673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2" name="Google Shape;532;p16"/>
            <p:cNvSpPr/>
            <p:nvPr/>
          </p:nvSpPr>
          <p:spPr>
            <a:xfrm>
              <a:off x="7391109" y="2618517"/>
              <a:ext cx="49710" cy="228160"/>
            </a:xfrm>
            <a:custGeom>
              <a:avLst/>
              <a:gdLst/>
              <a:ahLst/>
              <a:cxnLst/>
              <a:rect l="l" t="t" r="r" b="b"/>
              <a:pathLst>
                <a:path w="132559" h="608427" extrusionOk="0">
                  <a:moveTo>
                    <a:pt x="1779" y="533694"/>
                  </a:moveTo>
                  <a:cubicBezTo>
                    <a:pt x="13190" y="520931"/>
                    <a:pt x="32779" y="450160"/>
                    <a:pt x="44001" y="405488"/>
                  </a:cubicBezTo>
                  <a:cubicBezTo>
                    <a:pt x="54832" y="355339"/>
                    <a:pt x="57019" y="303694"/>
                    <a:pt x="50467" y="252802"/>
                  </a:cubicBezTo>
                  <a:cubicBezTo>
                    <a:pt x="40387" y="191842"/>
                    <a:pt x="12429" y="107451"/>
                    <a:pt x="4536" y="72494"/>
                  </a:cubicBezTo>
                  <a:cubicBezTo>
                    <a:pt x="-3357" y="37537"/>
                    <a:pt x="7104" y="22678"/>
                    <a:pt x="22604" y="8581"/>
                  </a:cubicBezTo>
                  <a:cubicBezTo>
                    <a:pt x="40767" y="-7993"/>
                    <a:pt x="67870" y="-3040"/>
                    <a:pt x="85367" y="45538"/>
                  </a:cubicBezTo>
                  <a:cubicBezTo>
                    <a:pt x="108199" y="112727"/>
                    <a:pt x="123538" y="182231"/>
                    <a:pt x="131108" y="252802"/>
                  </a:cubicBezTo>
                  <a:cubicBezTo>
                    <a:pt x="135206" y="305361"/>
                    <a:pt x="130614" y="358234"/>
                    <a:pt x="117509" y="409298"/>
                  </a:cubicBezTo>
                  <a:cubicBezTo>
                    <a:pt x="105813" y="456923"/>
                    <a:pt x="88981" y="491403"/>
                    <a:pt x="66728" y="535028"/>
                  </a:cubicBezTo>
                  <a:cubicBezTo>
                    <a:pt x="60737" y="546839"/>
                    <a:pt x="47044" y="580081"/>
                    <a:pt x="38200" y="604084"/>
                  </a:cubicBezTo>
                  <a:cubicBezTo>
                    <a:pt x="29356" y="628087"/>
                    <a:pt x="-8587" y="545315"/>
                    <a:pt x="1779" y="5336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3" name="Google Shape;533;p16"/>
            <p:cNvSpPr/>
            <p:nvPr/>
          </p:nvSpPr>
          <p:spPr>
            <a:xfrm>
              <a:off x="7311279" y="2475275"/>
              <a:ext cx="85098" cy="103818"/>
            </a:xfrm>
            <a:custGeom>
              <a:avLst/>
              <a:gdLst/>
              <a:ahLst/>
              <a:cxnLst/>
              <a:rect l="l" t="t" r="r" b="b"/>
              <a:pathLst>
                <a:path w="226927" h="276849" extrusionOk="0">
                  <a:moveTo>
                    <a:pt x="4992" y="100093"/>
                  </a:moveTo>
                  <a:lnTo>
                    <a:pt x="4992" y="100093"/>
                  </a:lnTo>
                  <a:cubicBezTo>
                    <a:pt x="14026" y="41324"/>
                    <a:pt x="56248" y="-3158"/>
                    <a:pt x="116729" y="176"/>
                  </a:cubicBezTo>
                  <a:cubicBezTo>
                    <a:pt x="180871" y="3548"/>
                    <a:pt x="230140" y="58374"/>
                    <a:pt x="226764" y="122620"/>
                  </a:cubicBezTo>
                  <a:cubicBezTo>
                    <a:pt x="224862" y="159005"/>
                    <a:pt x="206061" y="192400"/>
                    <a:pt x="175973" y="212869"/>
                  </a:cubicBezTo>
                  <a:cubicBezTo>
                    <a:pt x="173795" y="221746"/>
                    <a:pt x="170610" y="230347"/>
                    <a:pt x="166464" y="238491"/>
                  </a:cubicBezTo>
                  <a:cubicBezTo>
                    <a:pt x="145067" y="263542"/>
                    <a:pt x="80403" y="279068"/>
                    <a:pt x="61859" y="276591"/>
                  </a:cubicBezTo>
                  <a:cubicBezTo>
                    <a:pt x="37990" y="273162"/>
                    <a:pt x="25152" y="263161"/>
                    <a:pt x="13741" y="237062"/>
                  </a:cubicBezTo>
                  <a:cubicBezTo>
                    <a:pt x="-6229" y="190771"/>
                    <a:pt x="47" y="129144"/>
                    <a:pt x="4992" y="100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4" name="Google Shape;534;p16"/>
            <p:cNvSpPr/>
            <p:nvPr/>
          </p:nvSpPr>
          <p:spPr>
            <a:xfrm>
              <a:off x="7314515" y="2466234"/>
              <a:ext cx="89964" cy="88884"/>
            </a:xfrm>
            <a:custGeom>
              <a:avLst/>
              <a:gdLst/>
              <a:ahLst/>
              <a:cxnLst/>
              <a:rect l="l" t="t" r="r" b="b"/>
              <a:pathLst>
                <a:path w="239905" h="237025" extrusionOk="0">
                  <a:moveTo>
                    <a:pt x="167327" y="237026"/>
                  </a:moveTo>
                  <a:lnTo>
                    <a:pt x="167327" y="237026"/>
                  </a:lnTo>
                  <a:lnTo>
                    <a:pt x="161811" y="185781"/>
                  </a:lnTo>
                  <a:cubicBezTo>
                    <a:pt x="161811" y="185781"/>
                    <a:pt x="203558" y="77387"/>
                    <a:pt x="104754" y="98151"/>
                  </a:cubicBezTo>
                  <a:cubicBezTo>
                    <a:pt x="39519" y="111962"/>
                    <a:pt x="23163" y="117868"/>
                    <a:pt x="3383" y="74053"/>
                  </a:cubicBezTo>
                  <a:cubicBezTo>
                    <a:pt x="-16397" y="30238"/>
                    <a:pt x="53498" y="-9100"/>
                    <a:pt x="136516" y="1853"/>
                  </a:cubicBezTo>
                  <a:cubicBezTo>
                    <a:pt x="196036" y="7797"/>
                    <a:pt x="241026" y="58537"/>
                    <a:pt x="239884" y="118439"/>
                  </a:cubicBezTo>
                  <a:cubicBezTo>
                    <a:pt x="237222" y="150729"/>
                    <a:pt x="228663" y="215975"/>
                    <a:pt x="167327" y="23702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5" name="Google Shape;535;p16"/>
            <p:cNvSpPr/>
            <p:nvPr/>
          </p:nvSpPr>
          <p:spPr>
            <a:xfrm>
              <a:off x="7384763" y="2604603"/>
              <a:ext cx="55737" cy="75876"/>
            </a:xfrm>
            <a:custGeom>
              <a:avLst/>
              <a:gdLst/>
              <a:ahLst/>
              <a:cxnLst/>
              <a:rect l="l" t="t" r="r" b="b"/>
              <a:pathLst>
                <a:path w="148633" h="202336" extrusionOk="0">
                  <a:moveTo>
                    <a:pt x="148634" y="161388"/>
                  </a:moveTo>
                  <a:cubicBezTo>
                    <a:pt x="148634" y="161388"/>
                    <a:pt x="94810" y="215109"/>
                    <a:pt x="31001" y="199488"/>
                  </a:cubicBezTo>
                  <a:cubicBezTo>
                    <a:pt x="21491" y="193297"/>
                    <a:pt x="0" y="67757"/>
                    <a:pt x="0" y="67757"/>
                  </a:cubicBezTo>
                  <a:cubicBezTo>
                    <a:pt x="0" y="67757"/>
                    <a:pt x="0" y="-1775"/>
                    <a:pt x="53253" y="35"/>
                  </a:cubicBezTo>
                  <a:cubicBezTo>
                    <a:pt x="106506" y="1844"/>
                    <a:pt x="148634" y="161388"/>
                    <a:pt x="148634" y="16138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6" name="Google Shape;536;p16"/>
            <p:cNvSpPr/>
            <p:nvPr/>
          </p:nvSpPr>
          <p:spPr>
            <a:xfrm>
              <a:off x="7269438" y="2565933"/>
              <a:ext cx="45289" cy="73030"/>
            </a:xfrm>
            <a:custGeom>
              <a:avLst/>
              <a:gdLst/>
              <a:ahLst/>
              <a:cxnLst/>
              <a:rect l="l" t="t" r="r" b="b"/>
              <a:pathLst>
                <a:path w="120770" h="194746" extrusionOk="0">
                  <a:moveTo>
                    <a:pt x="46502" y="194215"/>
                  </a:moveTo>
                  <a:cubicBezTo>
                    <a:pt x="46502" y="194215"/>
                    <a:pt x="11602" y="198596"/>
                    <a:pt x="0" y="182213"/>
                  </a:cubicBezTo>
                  <a:cubicBezTo>
                    <a:pt x="2092" y="153638"/>
                    <a:pt x="48594" y="7906"/>
                    <a:pt x="120771" y="0"/>
                  </a:cubicBezTo>
                  <a:cubicBezTo>
                    <a:pt x="103197" y="15916"/>
                    <a:pt x="88011" y="34300"/>
                    <a:pt x="75696" y="54578"/>
                  </a:cubicBezTo>
                  <a:cubicBezTo>
                    <a:pt x="49925" y="97345"/>
                    <a:pt x="46502" y="194215"/>
                    <a:pt x="46502" y="1942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7" name="Google Shape;537;p16"/>
            <p:cNvSpPr/>
            <p:nvPr/>
          </p:nvSpPr>
          <p:spPr>
            <a:xfrm>
              <a:off x="6661328" y="3286571"/>
              <a:ext cx="246169" cy="142323"/>
            </a:xfrm>
            <a:custGeom>
              <a:avLst/>
              <a:gdLst/>
              <a:ahLst/>
              <a:cxnLst/>
              <a:rect l="l" t="t" r="r" b="b"/>
              <a:pathLst>
                <a:path w="657677" h="380237" extrusionOk="0">
                  <a:moveTo>
                    <a:pt x="657678" y="190119"/>
                  </a:moveTo>
                  <a:cubicBezTo>
                    <a:pt x="657678" y="295119"/>
                    <a:pt x="510452" y="380238"/>
                    <a:pt x="328839" y="380238"/>
                  </a:cubicBezTo>
                  <a:cubicBezTo>
                    <a:pt x="147226" y="380238"/>
                    <a:pt x="0" y="295119"/>
                    <a:pt x="0" y="190119"/>
                  </a:cubicBezTo>
                  <a:cubicBezTo>
                    <a:pt x="0" y="85119"/>
                    <a:pt x="147226" y="0"/>
                    <a:pt x="328839" y="0"/>
                  </a:cubicBezTo>
                  <a:cubicBezTo>
                    <a:pt x="510452" y="0"/>
                    <a:pt x="657678" y="85119"/>
                    <a:pt x="657678" y="190119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8" name="Google Shape;538;p16"/>
            <p:cNvSpPr/>
            <p:nvPr/>
          </p:nvSpPr>
          <p:spPr>
            <a:xfrm>
              <a:off x="6681151" y="2824698"/>
              <a:ext cx="58982" cy="128668"/>
            </a:xfrm>
            <a:custGeom>
              <a:avLst/>
              <a:gdLst/>
              <a:ahLst/>
              <a:cxnLst/>
              <a:rect l="l" t="t" r="r" b="b"/>
              <a:pathLst>
                <a:path w="157580" h="343757" extrusionOk="0">
                  <a:moveTo>
                    <a:pt x="34717" y="0"/>
                  </a:moveTo>
                  <a:cubicBezTo>
                    <a:pt x="31009" y="32004"/>
                    <a:pt x="-7029" y="170021"/>
                    <a:pt x="1149" y="217361"/>
                  </a:cubicBezTo>
                  <a:cubicBezTo>
                    <a:pt x="9327" y="264700"/>
                    <a:pt x="139512" y="343757"/>
                    <a:pt x="139512" y="343757"/>
                  </a:cubicBezTo>
                  <a:lnTo>
                    <a:pt x="157580" y="262795"/>
                  </a:lnTo>
                  <a:lnTo>
                    <a:pt x="85403" y="192024"/>
                  </a:lnTo>
                  <a:lnTo>
                    <a:pt x="104898" y="57912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9" name="Google Shape;539;p16"/>
            <p:cNvSpPr/>
            <p:nvPr/>
          </p:nvSpPr>
          <p:spPr>
            <a:xfrm>
              <a:off x="6689412" y="2771791"/>
              <a:ext cx="42428" cy="81725"/>
            </a:xfrm>
            <a:custGeom>
              <a:avLst/>
              <a:gdLst/>
              <a:ahLst/>
              <a:cxnLst/>
              <a:rect l="l" t="t" r="r" b="b"/>
              <a:pathLst>
                <a:path w="113353" h="218341" extrusionOk="0">
                  <a:moveTo>
                    <a:pt x="113353" y="5238"/>
                  </a:moveTo>
                  <a:cubicBezTo>
                    <a:pt x="87120" y="-6849"/>
                    <a:pt x="56006" y="2599"/>
                    <a:pt x="40891" y="27240"/>
                  </a:cubicBezTo>
                  <a:cubicBezTo>
                    <a:pt x="21872" y="59054"/>
                    <a:pt x="1807" y="168020"/>
                    <a:pt x="0" y="186689"/>
                  </a:cubicBezTo>
                  <a:cubicBezTo>
                    <a:pt x="0" y="186689"/>
                    <a:pt x="26912" y="223836"/>
                    <a:pt x="67232" y="21764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0" name="Google Shape;540;p16"/>
            <p:cNvSpPr/>
            <p:nvPr/>
          </p:nvSpPr>
          <p:spPr>
            <a:xfrm>
              <a:off x="6782889" y="3337575"/>
              <a:ext cx="91454" cy="51556"/>
            </a:xfrm>
            <a:custGeom>
              <a:avLst/>
              <a:gdLst/>
              <a:ahLst/>
              <a:cxnLst/>
              <a:rect l="l" t="t" r="r" b="b"/>
              <a:pathLst>
                <a:path w="244333" h="137739" extrusionOk="0">
                  <a:moveTo>
                    <a:pt x="12344" y="32993"/>
                  </a:moveTo>
                  <a:cubicBezTo>
                    <a:pt x="40672" y="40842"/>
                    <a:pt x="70948" y="37175"/>
                    <a:pt x="96598" y="22802"/>
                  </a:cubicBezTo>
                  <a:cubicBezTo>
                    <a:pt x="116948" y="23468"/>
                    <a:pt x="227163" y="-23775"/>
                    <a:pt x="242093" y="15848"/>
                  </a:cubicBezTo>
                  <a:cubicBezTo>
                    <a:pt x="255216" y="50615"/>
                    <a:pt x="207479" y="82523"/>
                    <a:pt x="181993" y="89001"/>
                  </a:cubicBezTo>
                  <a:cubicBezTo>
                    <a:pt x="126363" y="102431"/>
                    <a:pt x="85186" y="130244"/>
                    <a:pt x="62839" y="135006"/>
                  </a:cubicBezTo>
                  <a:cubicBezTo>
                    <a:pt x="46197" y="138530"/>
                    <a:pt x="24801" y="140817"/>
                    <a:pt x="11297" y="127672"/>
                  </a:cubicBezTo>
                  <a:cubicBezTo>
                    <a:pt x="-4583" y="111956"/>
                    <a:pt x="-3252" y="53472"/>
                    <a:pt x="12344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1" name="Google Shape;541;p16"/>
            <p:cNvSpPr/>
            <p:nvPr/>
          </p:nvSpPr>
          <p:spPr>
            <a:xfrm>
              <a:off x="6784412" y="3346110"/>
              <a:ext cx="89915" cy="43199"/>
            </a:xfrm>
            <a:custGeom>
              <a:avLst/>
              <a:gdLst/>
              <a:ahLst/>
              <a:cxnLst/>
              <a:rect l="l" t="t" r="r" b="b"/>
              <a:pathLst>
                <a:path w="240222" h="115414" extrusionOk="0">
                  <a:moveTo>
                    <a:pt x="58769" y="102584"/>
                  </a:moveTo>
                  <a:cubicBezTo>
                    <a:pt x="81116" y="97822"/>
                    <a:pt x="122292" y="70009"/>
                    <a:pt x="177923" y="56579"/>
                  </a:cubicBezTo>
                  <a:cubicBezTo>
                    <a:pt x="199319" y="51340"/>
                    <a:pt x="236121" y="28004"/>
                    <a:pt x="239830" y="0"/>
                  </a:cubicBezTo>
                  <a:cubicBezTo>
                    <a:pt x="244775" y="32004"/>
                    <a:pt x="201792" y="60388"/>
                    <a:pt x="177923" y="66675"/>
                  </a:cubicBezTo>
                  <a:cubicBezTo>
                    <a:pt x="122292" y="80105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227" y="105346"/>
                  </a:cubicBezTo>
                  <a:cubicBezTo>
                    <a:pt x="3793" y="101575"/>
                    <a:pt x="1314" y="97041"/>
                    <a:pt x="0" y="92107"/>
                  </a:cubicBezTo>
                  <a:cubicBezTo>
                    <a:pt x="16840" y="104699"/>
                    <a:pt x="38626" y="108575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2" name="Google Shape;542;p16"/>
            <p:cNvSpPr/>
            <p:nvPr/>
          </p:nvSpPr>
          <p:spPr>
            <a:xfrm>
              <a:off x="6715968" y="3307485"/>
              <a:ext cx="91493" cy="51556"/>
            </a:xfrm>
            <a:custGeom>
              <a:avLst/>
              <a:gdLst/>
              <a:ahLst/>
              <a:cxnLst/>
              <a:rect l="l" t="t" r="r" b="b"/>
              <a:pathLst>
                <a:path w="244438" h="137739" extrusionOk="0">
                  <a:moveTo>
                    <a:pt x="12449" y="32993"/>
                  </a:moveTo>
                  <a:cubicBezTo>
                    <a:pt x="40778" y="40842"/>
                    <a:pt x="71053" y="37175"/>
                    <a:pt x="96703" y="22802"/>
                  </a:cubicBezTo>
                  <a:cubicBezTo>
                    <a:pt x="116959" y="23468"/>
                    <a:pt x="227174" y="-23775"/>
                    <a:pt x="242199" y="15848"/>
                  </a:cubicBezTo>
                  <a:cubicBezTo>
                    <a:pt x="255322" y="50615"/>
                    <a:pt x="207584" y="82523"/>
                    <a:pt x="182099" y="89001"/>
                  </a:cubicBezTo>
                  <a:cubicBezTo>
                    <a:pt x="126468" y="102526"/>
                    <a:pt x="85197" y="130244"/>
                    <a:pt x="62849" y="135006"/>
                  </a:cubicBezTo>
                  <a:cubicBezTo>
                    <a:pt x="46208" y="138530"/>
                    <a:pt x="24811" y="140817"/>
                    <a:pt x="11403" y="127672"/>
                  </a:cubicBezTo>
                  <a:cubicBezTo>
                    <a:pt x="-4573" y="111956"/>
                    <a:pt x="-3337" y="53758"/>
                    <a:pt x="12449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3" name="Google Shape;543;p16"/>
            <p:cNvSpPr/>
            <p:nvPr/>
          </p:nvSpPr>
          <p:spPr>
            <a:xfrm>
              <a:off x="6717638" y="3316019"/>
              <a:ext cx="89951" cy="43199"/>
            </a:xfrm>
            <a:custGeom>
              <a:avLst/>
              <a:gdLst/>
              <a:ahLst/>
              <a:cxnLst/>
              <a:rect l="l" t="t" r="r" b="b"/>
              <a:pathLst>
                <a:path w="240317" h="115414" extrusionOk="0">
                  <a:moveTo>
                    <a:pt x="58769" y="102584"/>
                  </a:moveTo>
                  <a:cubicBezTo>
                    <a:pt x="81116" y="97822"/>
                    <a:pt x="122387" y="70009"/>
                    <a:pt x="178018" y="56579"/>
                  </a:cubicBezTo>
                  <a:cubicBezTo>
                    <a:pt x="199319" y="51340"/>
                    <a:pt x="236216" y="28004"/>
                    <a:pt x="239925" y="0"/>
                  </a:cubicBezTo>
                  <a:cubicBezTo>
                    <a:pt x="244870" y="32004"/>
                    <a:pt x="201887" y="60388"/>
                    <a:pt x="178018" y="66675"/>
                  </a:cubicBezTo>
                  <a:cubicBezTo>
                    <a:pt x="122387" y="80201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322" y="105346"/>
                  </a:cubicBezTo>
                  <a:cubicBezTo>
                    <a:pt x="3892" y="101556"/>
                    <a:pt x="1386" y="97031"/>
                    <a:pt x="0" y="92107"/>
                  </a:cubicBezTo>
                  <a:cubicBezTo>
                    <a:pt x="16840" y="104699"/>
                    <a:pt x="38626" y="108576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4" name="Google Shape;544;p16"/>
            <p:cNvSpPr/>
            <p:nvPr/>
          </p:nvSpPr>
          <p:spPr>
            <a:xfrm>
              <a:off x="6715994" y="2973759"/>
              <a:ext cx="133983" cy="378277"/>
            </a:xfrm>
            <a:custGeom>
              <a:avLst/>
              <a:gdLst/>
              <a:ahLst/>
              <a:cxnLst/>
              <a:rect l="l" t="t" r="r" b="b"/>
              <a:pathLst>
                <a:path w="357956" h="1010624" extrusionOk="0">
                  <a:moveTo>
                    <a:pt x="10194" y="624745"/>
                  </a:moveTo>
                  <a:cubicBezTo>
                    <a:pt x="14905" y="583749"/>
                    <a:pt x="23405" y="543287"/>
                    <a:pt x="35584" y="503872"/>
                  </a:cubicBezTo>
                  <a:cubicBezTo>
                    <a:pt x="35584" y="503872"/>
                    <a:pt x="28071" y="399574"/>
                    <a:pt x="24268" y="300609"/>
                  </a:cubicBezTo>
                  <a:cubicBezTo>
                    <a:pt x="19893" y="188404"/>
                    <a:pt x="-19001" y="89630"/>
                    <a:pt x="11715" y="0"/>
                  </a:cubicBezTo>
                  <a:lnTo>
                    <a:pt x="357956" y="77057"/>
                  </a:lnTo>
                  <a:cubicBezTo>
                    <a:pt x="357956" y="77057"/>
                    <a:pt x="337035" y="524732"/>
                    <a:pt x="332376" y="578739"/>
                  </a:cubicBezTo>
                  <a:cubicBezTo>
                    <a:pt x="329842" y="620897"/>
                    <a:pt x="324665" y="662864"/>
                    <a:pt x="316875" y="704374"/>
                  </a:cubicBezTo>
                  <a:cubicBezTo>
                    <a:pt x="301090" y="791242"/>
                    <a:pt x="275414" y="997839"/>
                    <a:pt x="275414" y="997839"/>
                  </a:cubicBezTo>
                  <a:cubicBezTo>
                    <a:pt x="238897" y="1019175"/>
                    <a:pt x="190874" y="1007364"/>
                    <a:pt x="190874" y="1007364"/>
                  </a:cubicBezTo>
                  <a:cubicBezTo>
                    <a:pt x="190874" y="1007364"/>
                    <a:pt x="193537" y="745998"/>
                    <a:pt x="195914" y="683514"/>
                  </a:cubicBezTo>
                  <a:cubicBezTo>
                    <a:pt x="198767" y="607314"/>
                    <a:pt x="201049" y="612934"/>
                    <a:pt x="201049" y="612934"/>
                  </a:cubicBezTo>
                  <a:lnTo>
                    <a:pt x="189638" y="422434"/>
                  </a:lnTo>
                  <a:lnTo>
                    <a:pt x="182221" y="327755"/>
                  </a:lnTo>
                  <a:cubicBezTo>
                    <a:pt x="182221" y="327755"/>
                    <a:pt x="172711" y="397288"/>
                    <a:pt x="166435" y="459391"/>
                  </a:cubicBezTo>
                  <a:cubicBezTo>
                    <a:pt x="160919" y="513493"/>
                    <a:pt x="147416" y="562451"/>
                    <a:pt x="133342" y="663226"/>
                  </a:cubicBezTo>
                  <a:cubicBezTo>
                    <a:pt x="120694" y="750665"/>
                    <a:pt x="100154" y="926306"/>
                    <a:pt x="100154" y="926306"/>
                  </a:cubicBezTo>
                  <a:cubicBezTo>
                    <a:pt x="63637" y="947547"/>
                    <a:pt x="13997" y="929926"/>
                    <a:pt x="13997" y="929926"/>
                  </a:cubicBezTo>
                  <a:cubicBezTo>
                    <a:pt x="13997" y="929926"/>
                    <a:pt x="304" y="700564"/>
                    <a:pt x="10194" y="62474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Google Shape;545;p16"/>
            <p:cNvSpPr/>
            <p:nvPr/>
          </p:nvSpPr>
          <p:spPr>
            <a:xfrm>
              <a:off x="6733197" y="2663396"/>
              <a:ext cx="97219" cy="155678"/>
            </a:xfrm>
            <a:custGeom>
              <a:avLst/>
              <a:gdLst/>
              <a:ahLst/>
              <a:cxnLst/>
              <a:rect l="l" t="t" r="r" b="b"/>
              <a:pathLst>
                <a:path w="259735" h="415919" extrusionOk="0">
                  <a:moveTo>
                    <a:pt x="14728" y="296735"/>
                  </a:moveTo>
                  <a:cubicBezTo>
                    <a:pt x="41069" y="298068"/>
                    <a:pt x="60659" y="304831"/>
                    <a:pt x="63892" y="296735"/>
                  </a:cubicBezTo>
                  <a:cubicBezTo>
                    <a:pt x="66746" y="283124"/>
                    <a:pt x="68778" y="269351"/>
                    <a:pt x="69978" y="255492"/>
                  </a:cubicBezTo>
                  <a:cubicBezTo>
                    <a:pt x="66935" y="247776"/>
                    <a:pt x="64272" y="239585"/>
                    <a:pt x="64272" y="239585"/>
                  </a:cubicBezTo>
                  <a:cubicBezTo>
                    <a:pt x="31274" y="219201"/>
                    <a:pt x="20814" y="183388"/>
                    <a:pt x="16725" y="141763"/>
                  </a:cubicBezTo>
                  <a:cubicBezTo>
                    <a:pt x="9307" y="70516"/>
                    <a:pt x="47726" y="8413"/>
                    <a:pt x="118857" y="698"/>
                  </a:cubicBezTo>
                  <a:cubicBezTo>
                    <a:pt x="185424" y="-6350"/>
                    <a:pt x="234968" y="40798"/>
                    <a:pt x="248091" y="105473"/>
                  </a:cubicBezTo>
                  <a:cubicBezTo>
                    <a:pt x="255128" y="137382"/>
                    <a:pt x="269202" y="197675"/>
                    <a:pt x="250183" y="250158"/>
                  </a:cubicBezTo>
                  <a:cubicBezTo>
                    <a:pt x="239533" y="279495"/>
                    <a:pt x="225839" y="302831"/>
                    <a:pt x="212145" y="307308"/>
                  </a:cubicBezTo>
                  <a:cubicBezTo>
                    <a:pt x="198902" y="306889"/>
                    <a:pt x="185695" y="305708"/>
                    <a:pt x="172586" y="303784"/>
                  </a:cubicBezTo>
                  <a:lnTo>
                    <a:pt x="172586" y="303784"/>
                  </a:lnTo>
                  <a:cubicBezTo>
                    <a:pt x="172586" y="303784"/>
                    <a:pt x="169067" y="323500"/>
                    <a:pt x="166595" y="336264"/>
                  </a:cubicBezTo>
                  <a:cubicBezTo>
                    <a:pt x="164122" y="349027"/>
                    <a:pt x="165168" y="355314"/>
                    <a:pt x="190368" y="371221"/>
                  </a:cubicBezTo>
                  <a:cubicBezTo>
                    <a:pt x="215569" y="387127"/>
                    <a:pt x="152330" y="418846"/>
                    <a:pt x="110774" y="415702"/>
                  </a:cubicBezTo>
                  <a:cubicBezTo>
                    <a:pt x="69217" y="412559"/>
                    <a:pt x="22716" y="387127"/>
                    <a:pt x="9878" y="360648"/>
                  </a:cubicBezTo>
                  <a:cubicBezTo>
                    <a:pt x="-4577" y="331120"/>
                    <a:pt x="-3340" y="295878"/>
                    <a:pt x="14728" y="2967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6" name="Google Shape;546;p16"/>
            <p:cNvSpPr/>
            <p:nvPr/>
          </p:nvSpPr>
          <p:spPr>
            <a:xfrm>
              <a:off x="6701449" y="2773633"/>
              <a:ext cx="149347" cy="247668"/>
            </a:xfrm>
            <a:custGeom>
              <a:avLst/>
              <a:gdLst/>
              <a:ahLst/>
              <a:cxnLst/>
              <a:rect l="l" t="t" r="r" b="b"/>
              <a:pathLst>
                <a:path w="399004" h="661684" extrusionOk="0">
                  <a:moveTo>
                    <a:pt x="137586" y="6128"/>
                  </a:moveTo>
                  <a:cubicBezTo>
                    <a:pt x="130359" y="24416"/>
                    <a:pt x="148903" y="46704"/>
                    <a:pt x="198352" y="62230"/>
                  </a:cubicBezTo>
                  <a:cubicBezTo>
                    <a:pt x="247801" y="77756"/>
                    <a:pt x="252271" y="57753"/>
                    <a:pt x="252271" y="57753"/>
                  </a:cubicBezTo>
                  <a:cubicBezTo>
                    <a:pt x="252271" y="57753"/>
                    <a:pt x="324733" y="90900"/>
                    <a:pt x="348317" y="107379"/>
                  </a:cubicBezTo>
                  <a:cubicBezTo>
                    <a:pt x="378082" y="128143"/>
                    <a:pt x="391205" y="188341"/>
                    <a:pt x="395199" y="289878"/>
                  </a:cubicBezTo>
                  <a:cubicBezTo>
                    <a:pt x="399859" y="407321"/>
                    <a:pt x="400239" y="581628"/>
                    <a:pt x="396340" y="611727"/>
                  </a:cubicBezTo>
                  <a:cubicBezTo>
                    <a:pt x="396340" y="611727"/>
                    <a:pt x="340900" y="667068"/>
                    <a:pt x="269864" y="661257"/>
                  </a:cubicBezTo>
                  <a:cubicBezTo>
                    <a:pt x="198827" y="655447"/>
                    <a:pt x="79673" y="592487"/>
                    <a:pt x="50479" y="543909"/>
                  </a:cubicBezTo>
                  <a:cubicBezTo>
                    <a:pt x="51240" y="440849"/>
                    <a:pt x="63317" y="424085"/>
                    <a:pt x="46675" y="364744"/>
                  </a:cubicBezTo>
                  <a:cubicBezTo>
                    <a:pt x="8637" y="228918"/>
                    <a:pt x="-11523" y="173292"/>
                    <a:pt x="6925" y="82995"/>
                  </a:cubicBezTo>
                  <a:cubicBezTo>
                    <a:pt x="22236" y="8604"/>
                    <a:pt x="43632" y="-635"/>
                    <a:pt x="73492" y="32"/>
                  </a:cubicBezTo>
                  <a:cubicBezTo>
                    <a:pt x="94947" y="956"/>
                    <a:pt x="116341" y="2985"/>
                    <a:pt x="137586" y="612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7" name="Google Shape;547;p16"/>
            <p:cNvSpPr/>
            <p:nvPr/>
          </p:nvSpPr>
          <p:spPr>
            <a:xfrm>
              <a:off x="6807278" y="2804619"/>
              <a:ext cx="188299" cy="147777"/>
            </a:xfrm>
            <a:custGeom>
              <a:avLst/>
              <a:gdLst/>
              <a:ahLst/>
              <a:cxnLst/>
              <a:rect l="l" t="t" r="r" b="b"/>
              <a:pathLst>
                <a:path w="503069" h="394810" extrusionOk="0">
                  <a:moveTo>
                    <a:pt x="224008" y="304248"/>
                  </a:moveTo>
                  <a:cubicBezTo>
                    <a:pt x="165809" y="318917"/>
                    <a:pt x="152116" y="282150"/>
                    <a:pt x="144413" y="251670"/>
                  </a:cubicBezTo>
                  <a:cubicBezTo>
                    <a:pt x="125965" y="177852"/>
                    <a:pt x="115884" y="111272"/>
                    <a:pt x="102096" y="69362"/>
                  </a:cubicBezTo>
                  <a:cubicBezTo>
                    <a:pt x="85834" y="20022"/>
                    <a:pt x="68812" y="12212"/>
                    <a:pt x="45039" y="2687"/>
                  </a:cubicBezTo>
                  <a:cubicBezTo>
                    <a:pt x="16510" y="-8553"/>
                    <a:pt x="-7264" y="15260"/>
                    <a:pt x="2056" y="78125"/>
                  </a:cubicBezTo>
                  <a:cubicBezTo>
                    <a:pt x="13182" y="152420"/>
                    <a:pt x="27731" y="204617"/>
                    <a:pt x="55404" y="292628"/>
                  </a:cubicBezTo>
                  <a:cubicBezTo>
                    <a:pt x="62726" y="315583"/>
                    <a:pt x="78988" y="356350"/>
                    <a:pt x="102952" y="376067"/>
                  </a:cubicBezTo>
                  <a:cubicBezTo>
                    <a:pt x="133002" y="400451"/>
                    <a:pt x="178267" y="399403"/>
                    <a:pt x="246735" y="382353"/>
                  </a:cubicBezTo>
                  <a:cubicBezTo>
                    <a:pt x="275929" y="375019"/>
                    <a:pt x="307977" y="357588"/>
                    <a:pt x="363227" y="331776"/>
                  </a:cubicBezTo>
                  <a:cubicBezTo>
                    <a:pt x="378252" y="324822"/>
                    <a:pt x="389853" y="320060"/>
                    <a:pt x="418382" y="306725"/>
                  </a:cubicBezTo>
                  <a:cubicBezTo>
                    <a:pt x="446972" y="293856"/>
                    <a:pt x="472030" y="274245"/>
                    <a:pt x="491415" y="249575"/>
                  </a:cubicBezTo>
                  <a:cubicBezTo>
                    <a:pt x="506345" y="227953"/>
                    <a:pt x="503682" y="214142"/>
                    <a:pt x="500925" y="209284"/>
                  </a:cubicBezTo>
                  <a:cubicBezTo>
                    <a:pt x="498167" y="204426"/>
                    <a:pt x="494934" y="208046"/>
                    <a:pt x="486946" y="217095"/>
                  </a:cubicBezTo>
                  <a:cubicBezTo>
                    <a:pt x="475446" y="232497"/>
                    <a:pt x="461234" y="245670"/>
                    <a:pt x="445009" y="255956"/>
                  </a:cubicBezTo>
                  <a:cubicBezTo>
                    <a:pt x="445009" y="255956"/>
                    <a:pt x="463457" y="236906"/>
                    <a:pt x="473537" y="224524"/>
                  </a:cubicBezTo>
                  <a:cubicBezTo>
                    <a:pt x="482455" y="213561"/>
                    <a:pt x="489875" y="201445"/>
                    <a:pt x="495599" y="188520"/>
                  </a:cubicBezTo>
                  <a:cubicBezTo>
                    <a:pt x="500829" y="175851"/>
                    <a:pt x="489989" y="158706"/>
                    <a:pt x="481715" y="167755"/>
                  </a:cubicBezTo>
                  <a:cubicBezTo>
                    <a:pt x="473442" y="176804"/>
                    <a:pt x="469543" y="185853"/>
                    <a:pt x="454518" y="203950"/>
                  </a:cubicBezTo>
                  <a:cubicBezTo>
                    <a:pt x="446394" y="213542"/>
                    <a:pt x="437170" y="222143"/>
                    <a:pt x="427036" y="229572"/>
                  </a:cubicBezTo>
                  <a:cubicBezTo>
                    <a:pt x="436376" y="216895"/>
                    <a:pt x="444676" y="203483"/>
                    <a:pt x="451855" y="189472"/>
                  </a:cubicBezTo>
                  <a:cubicBezTo>
                    <a:pt x="461365" y="169946"/>
                    <a:pt x="429508" y="179947"/>
                    <a:pt x="411250" y="198997"/>
                  </a:cubicBezTo>
                  <a:cubicBezTo>
                    <a:pt x="397937" y="212808"/>
                    <a:pt x="386620" y="220809"/>
                    <a:pt x="386240" y="216999"/>
                  </a:cubicBezTo>
                  <a:cubicBezTo>
                    <a:pt x="385860" y="213189"/>
                    <a:pt x="359994" y="241097"/>
                    <a:pt x="346775" y="255099"/>
                  </a:cubicBezTo>
                  <a:cubicBezTo>
                    <a:pt x="333557" y="269101"/>
                    <a:pt x="279448" y="290246"/>
                    <a:pt x="224008" y="30424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" name="Google Shape;548;p16"/>
            <p:cNvSpPr/>
            <p:nvPr/>
          </p:nvSpPr>
          <p:spPr>
            <a:xfrm>
              <a:off x="6800502" y="2801416"/>
              <a:ext cx="57697" cy="84545"/>
            </a:xfrm>
            <a:custGeom>
              <a:avLst/>
              <a:gdLst/>
              <a:ahLst/>
              <a:cxnLst/>
              <a:rect l="l" t="t" r="r" b="b"/>
              <a:pathLst>
                <a:path w="154147" h="225876" extrusionOk="0">
                  <a:moveTo>
                    <a:pt x="41365" y="1052"/>
                  </a:moveTo>
                  <a:cubicBezTo>
                    <a:pt x="80259" y="-4758"/>
                    <a:pt x="107931" y="12768"/>
                    <a:pt x="124954" y="71823"/>
                  </a:cubicBezTo>
                  <a:cubicBezTo>
                    <a:pt x="141976" y="130878"/>
                    <a:pt x="154148" y="179360"/>
                    <a:pt x="154148" y="179360"/>
                  </a:cubicBezTo>
                  <a:cubicBezTo>
                    <a:pt x="138761" y="201611"/>
                    <a:pt x="115453" y="217117"/>
                    <a:pt x="89008" y="222699"/>
                  </a:cubicBezTo>
                  <a:cubicBezTo>
                    <a:pt x="42411" y="233939"/>
                    <a:pt x="25674" y="211745"/>
                    <a:pt x="25674" y="211745"/>
                  </a:cubicBezTo>
                  <a:cubicBezTo>
                    <a:pt x="25674" y="211745"/>
                    <a:pt x="12741" y="149833"/>
                    <a:pt x="4753" y="107732"/>
                  </a:cubicBezTo>
                  <a:cubicBezTo>
                    <a:pt x="-3235" y="65632"/>
                    <a:pt x="-6753" y="8101"/>
                    <a:pt x="41365" y="10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9" name="Google Shape;549;p16"/>
            <p:cNvSpPr/>
            <p:nvPr/>
          </p:nvSpPr>
          <p:spPr>
            <a:xfrm>
              <a:off x="6736209" y="2656556"/>
              <a:ext cx="94148" cy="104017"/>
            </a:xfrm>
            <a:custGeom>
              <a:avLst/>
              <a:gdLst/>
              <a:ahLst/>
              <a:cxnLst/>
              <a:rect l="l" t="t" r="r" b="b"/>
              <a:pathLst>
                <a:path w="251532" h="277898" extrusionOk="0">
                  <a:moveTo>
                    <a:pt x="237382" y="114605"/>
                  </a:moveTo>
                  <a:cubicBezTo>
                    <a:pt x="237382" y="114605"/>
                    <a:pt x="298814" y="20974"/>
                    <a:pt x="165681" y="1924"/>
                  </a:cubicBezTo>
                  <a:cubicBezTo>
                    <a:pt x="69635" y="-11792"/>
                    <a:pt x="7918" y="50025"/>
                    <a:pt x="786" y="117081"/>
                  </a:cubicBezTo>
                  <a:cubicBezTo>
                    <a:pt x="-6061" y="181185"/>
                    <a:pt x="33308" y="247669"/>
                    <a:pt x="61837" y="274149"/>
                  </a:cubicBezTo>
                  <a:cubicBezTo>
                    <a:pt x="75721" y="279102"/>
                    <a:pt x="105581" y="281959"/>
                    <a:pt x="144855" y="264052"/>
                  </a:cubicBezTo>
                  <a:cubicBezTo>
                    <a:pt x="146420" y="246602"/>
                    <a:pt x="147024" y="229086"/>
                    <a:pt x="146662" y="211569"/>
                  </a:cubicBezTo>
                  <a:cubicBezTo>
                    <a:pt x="146662" y="211569"/>
                    <a:pt x="99875" y="112890"/>
                    <a:pt x="237382" y="11460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0" name="Google Shape;550;p16"/>
            <p:cNvSpPr/>
            <p:nvPr/>
          </p:nvSpPr>
          <p:spPr>
            <a:xfrm>
              <a:off x="6938621" y="2869615"/>
              <a:ext cx="28491" cy="25068"/>
            </a:xfrm>
            <a:custGeom>
              <a:avLst/>
              <a:gdLst/>
              <a:ahLst/>
              <a:cxnLst/>
              <a:rect l="l" t="t" r="r" b="b"/>
              <a:pathLst>
                <a:path w="76119" h="66973" extrusionOk="0">
                  <a:moveTo>
                    <a:pt x="8709" y="56972"/>
                  </a:moveTo>
                  <a:cubicBezTo>
                    <a:pt x="8709" y="56972"/>
                    <a:pt x="-6411" y="29445"/>
                    <a:pt x="3194" y="22587"/>
                  </a:cubicBezTo>
                  <a:cubicBezTo>
                    <a:pt x="12798" y="15729"/>
                    <a:pt x="26492" y="41637"/>
                    <a:pt x="29250" y="51638"/>
                  </a:cubicBezTo>
                  <a:cubicBezTo>
                    <a:pt x="32008" y="61639"/>
                    <a:pt x="28204" y="48590"/>
                    <a:pt x="28204" y="48590"/>
                  </a:cubicBezTo>
                  <a:cubicBezTo>
                    <a:pt x="28204" y="48590"/>
                    <a:pt x="17838" y="17443"/>
                    <a:pt x="24590" y="11442"/>
                  </a:cubicBezTo>
                  <a:cubicBezTo>
                    <a:pt x="31342" y="5442"/>
                    <a:pt x="40376" y="18777"/>
                    <a:pt x="49410" y="38303"/>
                  </a:cubicBezTo>
                  <a:cubicBezTo>
                    <a:pt x="58444" y="57829"/>
                    <a:pt x="51597" y="36684"/>
                    <a:pt x="51597" y="36684"/>
                  </a:cubicBezTo>
                  <a:cubicBezTo>
                    <a:pt x="51597" y="36684"/>
                    <a:pt x="36667" y="5442"/>
                    <a:pt x="43039" y="1060"/>
                  </a:cubicBezTo>
                  <a:cubicBezTo>
                    <a:pt x="51597" y="-4655"/>
                    <a:pt x="65671" y="13823"/>
                    <a:pt x="74040" y="30492"/>
                  </a:cubicBezTo>
                  <a:cubicBezTo>
                    <a:pt x="82408" y="47161"/>
                    <a:pt x="62818" y="66973"/>
                    <a:pt x="62818" y="6697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51" name="Google Shape;551;p16"/>
            <p:cNvGrpSpPr/>
            <p:nvPr/>
          </p:nvGrpSpPr>
          <p:grpSpPr>
            <a:xfrm>
              <a:off x="6930455" y="2860622"/>
              <a:ext cx="82395" cy="49453"/>
              <a:chOff x="4865564" y="4292025"/>
              <a:chExt cx="220130" cy="132120"/>
            </a:xfrm>
          </p:grpSpPr>
          <p:sp>
            <p:nvSpPr>
              <p:cNvPr id="552" name="Google Shape;552;p16"/>
              <p:cNvSpPr/>
              <p:nvPr/>
            </p:nvSpPr>
            <p:spPr>
              <a:xfrm>
                <a:off x="4866015" y="4297264"/>
                <a:ext cx="219679" cy="126881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6881" extrusionOk="0">
                    <a:moveTo>
                      <a:pt x="59268" y="125002"/>
                    </a:moveTo>
                    <a:lnTo>
                      <a:pt x="3257" y="92332"/>
                    </a:lnTo>
                    <a:cubicBezTo>
                      <a:pt x="-1593" y="89569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7907" y="124240"/>
                    </a:lnTo>
                    <a:cubicBezTo>
                      <a:pt x="72174" y="127469"/>
                      <a:pt x="65245" y="127755"/>
                      <a:pt x="59268" y="125002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3" name="Google Shape;553;p16"/>
              <p:cNvSpPr/>
              <p:nvPr/>
            </p:nvSpPr>
            <p:spPr>
              <a:xfrm>
                <a:off x="4865564" y="4379690"/>
                <a:ext cx="6086" cy="5238"/>
              </a:xfrm>
              <a:custGeom>
                <a:avLst/>
                <a:gdLst/>
                <a:ahLst/>
                <a:cxnLst/>
                <a:rect l="l" t="t" r="r" b="b"/>
                <a:pathLst>
                  <a:path w="6086" h="5238" extrusionOk="0">
                    <a:moveTo>
                      <a:pt x="0" y="5239"/>
                    </a:moveTo>
                    <a:lnTo>
                      <a:pt x="0" y="0"/>
                    </a:lnTo>
                    <a:lnTo>
                      <a:pt x="6086" y="2286"/>
                    </a:lnTo>
                    <a:lnTo>
                      <a:pt x="0" y="523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4" name="Google Shape;554;p16"/>
              <p:cNvSpPr/>
              <p:nvPr/>
            </p:nvSpPr>
            <p:spPr>
              <a:xfrm>
                <a:off x="5080003" y="4331398"/>
                <a:ext cx="4849" cy="4953"/>
              </a:xfrm>
              <a:custGeom>
                <a:avLst/>
                <a:gdLst/>
                <a:ahLst/>
                <a:cxnLst/>
                <a:rect l="l" t="t" r="r" b="b"/>
                <a:pathLst>
                  <a:path w="4849" h="4953" extrusionOk="0">
                    <a:moveTo>
                      <a:pt x="4850" y="4953"/>
                    </a:moveTo>
                    <a:lnTo>
                      <a:pt x="4850" y="0"/>
                    </a:lnTo>
                    <a:lnTo>
                      <a:pt x="0" y="3048"/>
                    </a:lnTo>
                    <a:lnTo>
                      <a:pt x="4850" y="495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5" name="Google Shape;555;p16"/>
              <p:cNvSpPr/>
              <p:nvPr/>
            </p:nvSpPr>
            <p:spPr>
              <a:xfrm>
                <a:off x="4866015" y="4293038"/>
                <a:ext cx="219203" cy="126874"/>
              </a:xfrm>
              <a:custGeom>
                <a:avLst/>
                <a:gdLst/>
                <a:ahLst/>
                <a:cxnLst/>
                <a:rect l="l" t="t" r="r" b="b"/>
                <a:pathLst>
                  <a:path w="219203" h="126874" extrusionOk="0">
                    <a:moveTo>
                      <a:pt x="59268" y="124847"/>
                    </a:moveTo>
                    <a:lnTo>
                      <a:pt x="3257" y="92177"/>
                    </a:lnTo>
                    <a:cubicBezTo>
                      <a:pt x="-1593" y="89414"/>
                      <a:pt x="-927" y="84556"/>
                      <a:pt x="4589" y="81413"/>
                    </a:cubicBezTo>
                    <a:lnTo>
                      <a:pt x="140480" y="2737"/>
                    </a:lnTo>
                    <a:cubicBezTo>
                      <a:pt x="146312" y="-626"/>
                      <a:pt x="153417" y="-902"/>
                      <a:pt x="159499" y="1975"/>
                    </a:cubicBezTo>
                    <a:lnTo>
                      <a:pt x="215985" y="34646"/>
                    </a:lnTo>
                    <a:cubicBezTo>
                      <a:pt x="220740" y="37408"/>
                      <a:pt x="220169" y="42170"/>
                      <a:pt x="214654" y="45409"/>
                    </a:cubicBezTo>
                    <a:lnTo>
                      <a:pt x="78287" y="124276"/>
                    </a:lnTo>
                    <a:cubicBezTo>
                      <a:pt x="72411" y="127524"/>
                      <a:pt x="65330" y="127743"/>
                      <a:pt x="59268" y="124847"/>
                    </a:cubicBezTo>
                    <a:close/>
                  </a:path>
                </a:pathLst>
              </a:custGeom>
              <a:solidFill>
                <a:srgbClr val="616E8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6" name="Google Shape;556;p16"/>
              <p:cNvSpPr/>
              <p:nvPr/>
            </p:nvSpPr>
            <p:spPr>
              <a:xfrm rot="-1790023">
                <a:off x="4877359" y="4403357"/>
                <a:ext cx="1145" cy="2102"/>
              </a:xfrm>
              <a:custGeom>
                <a:avLst/>
                <a:gdLst/>
                <a:ahLst/>
                <a:cxnLst/>
                <a:rect l="l" t="t" r="r" b="b"/>
                <a:pathLst>
                  <a:path w="1145" h="2102" extrusionOk="0">
                    <a:moveTo>
                      <a:pt x="1145" y="1053"/>
                    </a:moveTo>
                    <a:cubicBezTo>
                      <a:pt x="1145" y="1634"/>
                      <a:pt x="889" y="2104"/>
                      <a:pt x="573" y="2104"/>
                    </a:cubicBezTo>
                    <a:cubicBezTo>
                      <a:pt x="257" y="2104"/>
                      <a:pt x="0" y="1633"/>
                      <a:pt x="0" y="1053"/>
                    </a:cubicBezTo>
                    <a:cubicBezTo>
                      <a:pt x="0" y="472"/>
                      <a:pt x="257" y="2"/>
                      <a:pt x="573" y="2"/>
                    </a:cubicBezTo>
                    <a:cubicBezTo>
                      <a:pt x="889" y="2"/>
                      <a:pt x="1145" y="472"/>
                      <a:pt x="1145" y="1053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7" name="Google Shape;557;p16"/>
              <p:cNvSpPr/>
              <p:nvPr/>
            </p:nvSpPr>
            <p:spPr>
              <a:xfrm rot="-1801764">
                <a:off x="4877140" y="439153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8" name="Google Shape;558;p16"/>
              <p:cNvSpPr/>
              <p:nvPr/>
            </p:nvSpPr>
            <p:spPr>
              <a:xfrm rot="-1801764">
                <a:off x="4879874" y="4393221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9" name="Google Shape;559;p16"/>
              <p:cNvSpPr/>
              <p:nvPr/>
            </p:nvSpPr>
            <p:spPr>
              <a:xfrm rot="-1801764">
                <a:off x="4882642" y="439468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0" name="Google Shape;560;p16"/>
              <p:cNvSpPr/>
              <p:nvPr/>
            </p:nvSpPr>
            <p:spPr>
              <a:xfrm rot="-1801764">
                <a:off x="4905957" y="4408254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1" name="Google Shape;561;p16"/>
              <p:cNvSpPr/>
              <p:nvPr/>
            </p:nvSpPr>
            <p:spPr>
              <a:xfrm rot="-1801764">
                <a:off x="4908679" y="4409799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2" name="Google Shape;562;p16"/>
              <p:cNvSpPr/>
              <p:nvPr/>
            </p:nvSpPr>
            <p:spPr>
              <a:xfrm rot="-1801764">
                <a:off x="4911365" y="4411405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3" name="Google Shape;563;p16"/>
              <p:cNvSpPr/>
              <p:nvPr/>
            </p:nvSpPr>
            <p:spPr>
              <a:xfrm rot="-1801764">
                <a:off x="4914086" y="4412950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4" name="Google Shape;564;p16"/>
              <p:cNvSpPr/>
              <p:nvPr/>
            </p:nvSpPr>
            <p:spPr>
              <a:xfrm>
                <a:off x="4890288" y="4399104"/>
                <a:ext cx="9224" cy="6794"/>
              </a:xfrm>
              <a:custGeom>
                <a:avLst/>
                <a:gdLst/>
                <a:ahLst/>
                <a:cxnLst/>
                <a:rect l="l" t="t" r="r" b="b"/>
                <a:pathLst>
                  <a:path w="9224" h="6794" extrusionOk="0">
                    <a:moveTo>
                      <a:pt x="8368" y="6684"/>
                    </a:moveTo>
                    <a:lnTo>
                      <a:pt x="856" y="2398"/>
                    </a:lnTo>
                    <a:cubicBezTo>
                      <a:pt x="322" y="1989"/>
                      <a:pt x="8" y="1360"/>
                      <a:pt x="0" y="684"/>
                    </a:cubicBezTo>
                    <a:lnTo>
                      <a:pt x="0" y="684"/>
                    </a:lnTo>
                    <a:cubicBezTo>
                      <a:pt x="0" y="112"/>
                      <a:pt x="0" y="-174"/>
                      <a:pt x="856" y="112"/>
                    </a:cubicBezTo>
                    <a:lnTo>
                      <a:pt x="8368" y="4398"/>
                    </a:lnTo>
                    <a:cubicBezTo>
                      <a:pt x="8898" y="4770"/>
                      <a:pt x="9217" y="5370"/>
                      <a:pt x="9224" y="6018"/>
                    </a:cubicBezTo>
                    <a:lnTo>
                      <a:pt x="9224" y="6018"/>
                    </a:lnTo>
                    <a:cubicBezTo>
                      <a:pt x="9224" y="6684"/>
                      <a:pt x="8844" y="6970"/>
                      <a:pt x="8368" y="6684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5" name="Google Shape;565;p16"/>
              <p:cNvSpPr/>
              <p:nvPr/>
            </p:nvSpPr>
            <p:spPr>
              <a:xfrm>
                <a:off x="5060033" y="4346638"/>
                <a:ext cx="8558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8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0" y="6096"/>
                      <a:pt x="0" y="5525"/>
                    </a:cubicBezTo>
                    <a:lnTo>
                      <a:pt x="0" y="5525"/>
                    </a:lnTo>
                    <a:cubicBezTo>
                      <a:pt x="38" y="4934"/>
                      <a:pt x="312" y="4381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54" y="1191"/>
                      <a:pt x="8230" y="1772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6" name="Google Shape;566;p16"/>
              <p:cNvSpPr/>
              <p:nvPr/>
            </p:nvSpPr>
            <p:spPr>
              <a:xfrm>
                <a:off x="5049382" y="4352829"/>
                <a:ext cx="8559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9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1" y="6096"/>
                      <a:pt x="1" y="5525"/>
                    </a:cubicBezTo>
                    <a:lnTo>
                      <a:pt x="1" y="5525"/>
                    </a:lnTo>
                    <a:cubicBezTo>
                      <a:pt x="-16" y="4924"/>
                      <a:pt x="270" y="4353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37" y="1191"/>
                      <a:pt x="8218" y="1753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7" name="Google Shape;567;p16"/>
              <p:cNvSpPr/>
              <p:nvPr/>
            </p:nvSpPr>
            <p:spPr>
              <a:xfrm>
                <a:off x="4866015" y="4292025"/>
                <a:ext cx="219679" cy="127142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7142" extrusionOk="0">
                    <a:moveTo>
                      <a:pt x="59268" y="125097"/>
                    </a:moveTo>
                    <a:lnTo>
                      <a:pt x="3257" y="92427"/>
                    </a:lnTo>
                    <a:cubicBezTo>
                      <a:pt x="-1593" y="89664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8763" y="124240"/>
                    </a:lnTo>
                    <a:cubicBezTo>
                      <a:pt x="72819" y="127784"/>
                      <a:pt x="65499" y="128098"/>
                      <a:pt x="59268" y="125097"/>
                    </a:cubicBezTo>
                    <a:close/>
                  </a:path>
                </a:pathLst>
              </a:custGeom>
              <a:solidFill>
                <a:srgbClr val="20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8" name="Google Shape;568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9" name="Google Shape;569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000000">
                  <a:alpha val="4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0" name="Google Shape;570;p16"/>
              <p:cNvSpPr/>
              <p:nvPr/>
            </p:nvSpPr>
            <p:spPr>
              <a:xfrm>
                <a:off x="5044723" y="4311872"/>
                <a:ext cx="5135" cy="2857"/>
              </a:xfrm>
              <a:custGeom>
                <a:avLst/>
                <a:gdLst/>
                <a:ahLst/>
                <a:cxnLst/>
                <a:rect l="l" t="t" r="r" b="b"/>
                <a:pathLst>
                  <a:path w="5135" h="2857" extrusionOk="0">
                    <a:moveTo>
                      <a:pt x="5135" y="1429"/>
                    </a:moveTo>
                    <a:cubicBezTo>
                      <a:pt x="5135" y="2218"/>
                      <a:pt x="3986" y="2857"/>
                      <a:pt x="2568" y="2857"/>
                    </a:cubicBezTo>
                    <a:cubicBezTo>
                      <a:pt x="1150" y="2857"/>
                      <a:pt x="0" y="2218"/>
                      <a:pt x="0" y="1429"/>
                    </a:cubicBezTo>
                    <a:cubicBezTo>
                      <a:pt x="0" y="640"/>
                      <a:pt x="1150" y="0"/>
                      <a:pt x="2568" y="0"/>
                    </a:cubicBezTo>
                    <a:cubicBezTo>
                      <a:pt x="3986" y="0"/>
                      <a:pt x="5135" y="640"/>
                      <a:pt x="5135" y="142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1" name="Google Shape;571;p16"/>
              <p:cNvSpPr/>
              <p:nvPr/>
            </p:nvSpPr>
            <p:spPr>
              <a:xfrm>
                <a:off x="5046530" y="4312698"/>
                <a:ext cx="1521" cy="1221"/>
              </a:xfrm>
              <a:custGeom>
                <a:avLst/>
                <a:gdLst/>
                <a:ahLst/>
                <a:cxnLst/>
                <a:rect l="l" t="t" r="r" b="b"/>
                <a:pathLst>
                  <a:path w="1521" h="1221" extrusionOk="0">
                    <a:moveTo>
                      <a:pt x="0" y="1079"/>
                    </a:moveTo>
                    <a:cubicBezTo>
                      <a:pt x="0" y="1079"/>
                      <a:pt x="0" y="412"/>
                      <a:pt x="0" y="221"/>
                    </a:cubicBezTo>
                    <a:cubicBezTo>
                      <a:pt x="465" y="-74"/>
                      <a:pt x="1056" y="-74"/>
                      <a:pt x="1522" y="221"/>
                    </a:cubicBezTo>
                    <a:cubicBezTo>
                      <a:pt x="1522" y="221"/>
                      <a:pt x="1522" y="793"/>
                      <a:pt x="1522" y="1079"/>
                    </a:cubicBezTo>
                    <a:cubicBezTo>
                      <a:pt x="1033" y="1269"/>
                      <a:pt x="489" y="1269"/>
                      <a:pt x="0" y="1079"/>
                    </a:cubicBezTo>
                    <a:close/>
                  </a:path>
                </a:pathLst>
              </a:custGeom>
              <a:solidFill>
                <a:srgbClr val="FFFFFF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72" name="Google Shape;572;p16"/>
            <p:cNvSpPr/>
            <p:nvPr/>
          </p:nvSpPr>
          <p:spPr>
            <a:xfrm>
              <a:off x="6948039" y="2876090"/>
              <a:ext cx="48317" cy="40269"/>
            </a:xfrm>
            <a:custGeom>
              <a:avLst/>
              <a:gdLst/>
              <a:ahLst/>
              <a:cxnLst/>
              <a:rect l="l" t="t" r="r" b="b"/>
              <a:pathLst>
                <a:path w="129087" h="107584" extrusionOk="0">
                  <a:moveTo>
                    <a:pt x="100516" y="75867"/>
                  </a:moveTo>
                  <a:cubicBezTo>
                    <a:pt x="100516" y="75867"/>
                    <a:pt x="130375" y="48911"/>
                    <a:pt x="129044" y="13192"/>
                  </a:cubicBezTo>
                  <a:cubicBezTo>
                    <a:pt x="127237" y="-11668"/>
                    <a:pt x="112212" y="6239"/>
                    <a:pt x="112212" y="6239"/>
                  </a:cubicBezTo>
                  <a:lnTo>
                    <a:pt x="97092" y="33671"/>
                  </a:lnTo>
                  <a:cubicBezTo>
                    <a:pt x="89594" y="43806"/>
                    <a:pt x="79821" y="52026"/>
                    <a:pt x="68564" y="57674"/>
                  </a:cubicBezTo>
                  <a:cubicBezTo>
                    <a:pt x="57968" y="58693"/>
                    <a:pt x="47431" y="60255"/>
                    <a:pt x="36992" y="62341"/>
                  </a:cubicBezTo>
                  <a:cubicBezTo>
                    <a:pt x="18448" y="65961"/>
                    <a:pt x="0" y="89202"/>
                    <a:pt x="0" y="89202"/>
                  </a:cubicBezTo>
                  <a:lnTo>
                    <a:pt x="23298" y="1075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3" name="Google Shape;573;p16"/>
            <p:cNvSpPr/>
            <p:nvPr/>
          </p:nvSpPr>
          <p:spPr>
            <a:xfrm>
              <a:off x="6688913" y="2310158"/>
              <a:ext cx="266346" cy="294746"/>
            </a:xfrm>
            <a:custGeom>
              <a:avLst/>
              <a:gdLst/>
              <a:ahLst/>
              <a:cxnLst/>
              <a:rect l="l" t="t" r="r" b="b"/>
              <a:pathLst>
                <a:path w="711585" h="787458" extrusionOk="0">
                  <a:moveTo>
                    <a:pt x="654254" y="325496"/>
                  </a:moveTo>
                  <a:lnTo>
                    <a:pt x="104510" y="7551"/>
                  </a:lnTo>
                  <a:cubicBezTo>
                    <a:pt x="93809" y="169"/>
                    <a:pt x="80334" y="-1936"/>
                    <a:pt x="67898" y="1836"/>
                  </a:cubicBezTo>
                  <a:lnTo>
                    <a:pt x="67898" y="1836"/>
                  </a:lnTo>
                  <a:cubicBezTo>
                    <a:pt x="65551" y="2808"/>
                    <a:pt x="63345" y="4093"/>
                    <a:pt x="61336" y="5646"/>
                  </a:cubicBezTo>
                  <a:lnTo>
                    <a:pt x="0" y="40793"/>
                  </a:lnTo>
                  <a:lnTo>
                    <a:pt x="47548" y="96705"/>
                  </a:lnTo>
                  <a:lnTo>
                    <a:pt x="47548" y="326258"/>
                  </a:lnTo>
                  <a:cubicBezTo>
                    <a:pt x="49713" y="366529"/>
                    <a:pt x="70903" y="403353"/>
                    <a:pt x="104605" y="425413"/>
                  </a:cubicBezTo>
                  <a:lnTo>
                    <a:pt x="275776" y="533140"/>
                  </a:lnTo>
                  <a:lnTo>
                    <a:pt x="322277" y="639916"/>
                  </a:lnTo>
                  <a:lnTo>
                    <a:pt x="273303" y="723069"/>
                  </a:lnTo>
                  <a:lnTo>
                    <a:pt x="341487" y="684016"/>
                  </a:lnTo>
                  <a:lnTo>
                    <a:pt x="406246" y="608674"/>
                  </a:lnTo>
                  <a:lnTo>
                    <a:pt x="612888" y="720783"/>
                  </a:lnTo>
                  <a:lnTo>
                    <a:pt x="624014" y="787458"/>
                  </a:lnTo>
                  <a:lnTo>
                    <a:pt x="693624" y="747644"/>
                  </a:lnTo>
                  <a:lnTo>
                    <a:pt x="695526" y="746500"/>
                  </a:lnTo>
                  <a:lnTo>
                    <a:pt x="696191" y="746500"/>
                  </a:lnTo>
                  <a:lnTo>
                    <a:pt x="696191" y="746500"/>
                  </a:lnTo>
                  <a:cubicBezTo>
                    <a:pt x="706983" y="737785"/>
                    <a:pt x="712695" y="724231"/>
                    <a:pt x="711407" y="710401"/>
                  </a:cubicBezTo>
                  <a:lnTo>
                    <a:pt x="711407" y="424651"/>
                  </a:lnTo>
                  <a:cubicBezTo>
                    <a:pt x="709219" y="384370"/>
                    <a:pt x="687992" y="347536"/>
                    <a:pt x="654254" y="325496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4" name="Google Shape;574;p16"/>
            <p:cNvSpPr/>
            <p:nvPr/>
          </p:nvSpPr>
          <p:spPr>
            <a:xfrm>
              <a:off x="6681190" y="2324699"/>
              <a:ext cx="248446" cy="281264"/>
            </a:xfrm>
            <a:custGeom>
              <a:avLst/>
              <a:gdLst/>
              <a:ahLst/>
              <a:cxnLst/>
              <a:rect l="l" t="t" r="r" b="b"/>
              <a:pathLst>
                <a:path w="663763" h="751441" extrusionOk="0">
                  <a:moveTo>
                    <a:pt x="606802" y="325697"/>
                  </a:moveTo>
                  <a:lnTo>
                    <a:pt x="57057" y="7848"/>
                  </a:lnTo>
                  <a:cubicBezTo>
                    <a:pt x="25485" y="-10440"/>
                    <a:pt x="0" y="4324"/>
                    <a:pt x="0" y="40805"/>
                  </a:cubicBezTo>
                  <a:lnTo>
                    <a:pt x="0" y="326555"/>
                  </a:lnTo>
                  <a:cubicBezTo>
                    <a:pt x="2165" y="366826"/>
                    <a:pt x="23356" y="403650"/>
                    <a:pt x="57057" y="425710"/>
                  </a:cubicBezTo>
                  <a:lnTo>
                    <a:pt x="228228" y="533533"/>
                  </a:lnTo>
                  <a:lnTo>
                    <a:pt x="293939" y="684314"/>
                  </a:lnTo>
                  <a:lnTo>
                    <a:pt x="358699" y="608971"/>
                  </a:lnTo>
                  <a:lnTo>
                    <a:pt x="606707" y="743654"/>
                  </a:lnTo>
                  <a:cubicBezTo>
                    <a:pt x="638278" y="761847"/>
                    <a:pt x="663764" y="747083"/>
                    <a:pt x="663764" y="710603"/>
                  </a:cubicBezTo>
                  <a:lnTo>
                    <a:pt x="663764" y="424853"/>
                  </a:lnTo>
                  <a:cubicBezTo>
                    <a:pt x="661621" y="384600"/>
                    <a:pt x="640468" y="347776"/>
                    <a:pt x="606802" y="325697"/>
                  </a:cubicBezTo>
                  <a:close/>
                </a:path>
              </a:pathLst>
            </a:custGeom>
            <a:solidFill>
              <a:srgbClr val="E26D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5" name="Google Shape;575;p16"/>
            <p:cNvSpPr/>
            <p:nvPr/>
          </p:nvSpPr>
          <p:spPr>
            <a:xfrm>
              <a:off x="7244522" y="2103554"/>
              <a:ext cx="267380" cy="295937"/>
            </a:xfrm>
            <a:custGeom>
              <a:avLst/>
              <a:gdLst/>
              <a:ahLst/>
              <a:cxnLst/>
              <a:rect l="l" t="t" r="r" b="b"/>
              <a:pathLst>
                <a:path w="713014" h="789165" extrusionOk="0">
                  <a:moveTo>
                    <a:pt x="655586" y="326155"/>
                  </a:moveTo>
                  <a:lnTo>
                    <a:pt x="104700" y="7639"/>
                  </a:lnTo>
                  <a:cubicBezTo>
                    <a:pt x="93992" y="191"/>
                    <a:pt x="80470" y="-1949"/>
                    <a:pt x="67993" y="1829"/>
                  </a:cubicBezTo>
                  <a:lnTo>
                    <a:pt x="67993" y="1829"/>
                  </a:lnTo>
                  <a:cubicBezTo>
                    <a:pt x="65625" y="2760"/>
                    <a:pt x="63419" y="4045"/>
                    <a:pt x="61432" y="5639"/>
                  </a:cubicBezTo>
                  <a:lnTo>
                    <a:pt x="0" y="40882"/>
                  </a:lnTo>
                  <a:lnTo>
                    <a:pt x="47548" y="96793"/>
                  </a:lnTo>
                  <a:lnTo>
                    <a:pt x="47548" y="326917"/>
                  </a:lnTo>
                  <a:cubicBezTo>
                    <a:pt x="49697" y="367241"/>
                    <a:pt x="70884" y="404130"/>
                    <a:pt x="104605" y="426263"/>
                  </a:cubicBezTo>
                  <a:lnTo>
                    <a:pt x="276252" y="534277"/>
                  </a:lnTo>
                  <a:lnTo>
                    <a:pt x="322848" y="641242"/>
                  </a:lnTo>
                  <a:lnTo>
                    <a:pt x="273874" y="724586"/>
                  </a:lnTo>
                  <a:lnTo>
                    <a:pt x="342248" y="685629"/>
                  </a:lnTo>
                  <a:lnTo>
                    <a:pt x="407102" y="610096"/>
                  </a:lnTo>
                  <a:lnTo>
                    <a:pt x="614029" y="722491"/>
                  </a:lnTo>
                  <a:lnTo>
                    <a:pt x="625250" y="789166"/>
                  </a:lnTo>
                  <a:lnTo>
                    <a:pt x="694955" y="749161"/>
                  </a:lnTo>
                  <a:lnTo>
                    <a:pt x="696857" y="748113"/>
                  </a:lnTo>
                  <a:lnTo>
                    <a:pt x="697523" y="748113"/>
                  </a:lnTo>
                  <a:lnTo>
                    <a:pt x="697523" y="748113"/>
                  </a:lnTo>
                  <a:cubicBezTo>
                    <a:pt x="708373" y="739436"/>
                    <a:pt x="714136" y="725863"/>
                    <a:pt x="712833" y="712013"/>
                  </a:cubicBezTo>
                  <a:lnTo>
                    <a:pt x="712833" y="426263"/>
                  </a:lnTo>
                  <a:cubicBezTo>
                    <a:pt x="710874" y="385631"/>
                    <a:pt x="689592" y="348402"/>
                    <a:pt x="655586" y="326155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6" name="Google Shape;576;p16"/>
            <p:cNvSpPr/>
            <p:nvPr/>
          </p:nvSpPr>
          <p:spPr>
            <a:xfrm>
              <a:off x="7236798" y="2118137"/>
              <a:ext cx="249375" cy="282304"/>
            </a:xfrm>
            <a:custGeom>
              <a:avLst/>
              <a:gdLst/>
              <a:ahLst/>
              <a:cxnLst/>
              <a:rect l="l" t="t" r="r" b="b"/>
              <a:pathLst>
                <a:path w="665000" h="752811" extrusionOk="0">
                  <a:moveTo>
                    <a:pt x="607848" y="326342"/>
                  </a:moveTo>
                  <a:lnTo>
                    <a:pt x="57057" y="7826"/>
                  </a:lnTo>
                  <a:cubicBezTo>
                    <a:pt x="25485" y="-10462"/>
                    <a:pt x="0" y="4397"/>
                    <a:pt x="0" y="40973"/>
                  </a:cubicBezTo>
                  <a:lnTo>
                    <a:pt x="0" y="326723"/>
                  </a:lnTo>
                  <a:cubicBezTo>
                    <a:pt x="2149" y="367046"/>
                    <a:pt x="23336" y="403936"/>
                    <a:pt x="57057" y="426069"/>
                  </a:cubicBezTo>
                  <a:lnTo>
                    <a:pt x="228799" y="534464"/>
                  </a:lnTo>
                  <a:lnTo>
                    <a:pt x="294700" y="685625"/>
                  </a:lnTo>
                  <a:lnTo>
                    <a:pt x="359555" y="610092"/>
                  </a:lnTo>
                  <a:lnTo>
                    <a:pt x="607943" y="744966"/>
                  </a:lnTo>
                  <a:cubicBezTo>
                    <a:pt x="639610" y="763254"/>
                    <a:pt x="665000" y="748490"/>
                    <a:pt x="665000" y="711914"/>
                  </a:cubicBezTo>
                  <a:lnTo>
                    <a:pt x="665000" y="426164"/>
                  </a:lnTo>
                  <a:cubicBezTo>
                    <a:pt x="662994" y="385648"/>
                    <a:pt x="641749" y="348541"/>
                    <a:pt x="607848" y="326342"/>
                  </a:cubicBez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7" name="Google Shape;577;p16"/>
            <p:cNvSpPr/>
            <p:nvPr/>
          </p:nvSpPr>
          <p:spPr>
            <a:xfrm rot="-1798898">
              <a:off x="7282126" y="2196393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5" y="55912"/>
                  </a:moveTo>
                  <a:cubicBezTo>
                    <a:pt x="64475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5" y="25033"/>
                    <a:pt x="64475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8" name="Google Shape;578;p16"/>
            <p:cNvSpPr/>
            <p:nvPr/>
          </p:nvSpPr>
          <p:spPr>
            <a:xfrm rot="-1778992">
              <a:off x="7345395" y="2232411"/>
              <a:ext cx="24194" cy="41962"/>
            </a:xfrm>
            <a:custGeom>
              <a:avLst/>
              <a:gdLst/>
              <a:ahLst/>
              <a:cxnLst/>
              <a:rect l="l" t="t" r="r" b="b"/>
              <a:pathLst>
                <a:path w="64696" h="112208" extrusionOk="0">
                  <a:moveTo>
                    <a:pt x="64698" y="56104"/>
                  </a:moveTo>
                  <a:cubicBezTo>
                    <a:pt x="64698" y="87090"/>
                    <a:pt x="50215" y="112209"/>
                    <a:pt x="32350" y="112209"/>
                  </a:cubicBezTo>
                  <a:cubicBezTo>
                    <a:pt x="14484" y="112209"/>
                    <a:pt x="1" y="87090"/>
                    <a:pt x="1" y="56104"/>
                  </a:cubicBezTo>
                  <a:cubicBezTo>
                    <a:pt x="1" y="25119"/>
                    <a:pt x="14484" y="0"/>
                    <a:pt x="32350" y="0"/>
                  </a:cubicBezTo>
                  <a:cubicBezTo>
                    <a:pt x="50215" y="0"/>
                    <a:pt x="64698" y="25119"/>
                    <a:pt x="64698" y="561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9" name="Google Shape;579;p16"/>
            <p:cNvSpPr/>
            <p:nvPr/>
          </p:nvSpPr>
          <p:spPr>
            <a:xfrm rot="-1798898">
              <a:off x="7404420" y="2267151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4" y="55912"/>
                  </a:moveTo>
                  <a:cubicBezTo>
                    <a:pt x="64474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4" y="25033"/>
                    <a:pt x="64474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0" name="Google Shape;580;p16"/>
            <p:cNvSpPr/>
            <p:nvPr/>
          </p:nvSpPr>
          <p:spPr>
            <a:xfrm>
              <a:off x="7054307" y="2375460"/>
              <a:ext cx="81342" cy="108498"/>
            </a:xfrm>
            <a:custGeom>
              <a:avLst/>
              <a:gdLst/>
              <a:ahLst/>
              <a:cxnLst/>
              <a:rect l="l" t="t" r="r" b="b"/>
              <a:pathLst>
                <a:path w="216911" h="289327" extrusionOk="0">
                  <a:moveTo>
                    <a:pt x="216912" y="195983"/>
                  </a:moveTo>
                  <a:cubicBezTo>
                    <a:pt x="216912" y="129308"/>
                    <a:pt x="170030" y="47678"/>
                    <a:pt x="112307" y="14246"/>
                  </a:cubicBezTo>
                  <a:cubicBezTo>
                    <a:pt x="81496" y="-3566"/>
                    <a:pt x="53919" y="-4042"/>
                    <a:pt x="34805" y="9293"/>
                  </a:cubicBezTo>
                  <a:lnTo>
                    <a:pt x="0" y="29009"/>
                  </a:lnTo>
                  <a:lnTo>
                    <a:pt x="14835" y="34915"/>
                  </a:lnTo>
                  <a:cubicBezTo>
                    <a:pt x="9738" y="47589"/>
                    <a:pt x="7246" y="61163"/>
                    <a:pt x="7512" y="74825"/>
                  </a:cubicBezTo>
                  <a:cubicBezTo>
                    <a:pt x="7512" y="141500"/>
                    <a:pt x="54394" y="223034"/>
                    <a:pt x="112117" y="256562"/>
                  </a:cubicBezTo>
                  <a:cubicBezTo>
                    <a:pt x="121018" y="261857"/>
                    <a:pt x="130623" y="265858"/>
                    <a:pt x="140645" y="268468"/>
                  </a:cubicBezTo>
                  <a:lnTo>
                    <a:pt x="140645" y="289328"/>
                  </a:lnTo>
                  <a:lnTo>
                    <a:pt x="185530" y="263991"/>
                  </a:lnTo>
                  <a:lnTo>
                    <a:pt x="185530" y="263991"/>
                  </a:lnTo>
                  <a:lnTo>
                    <a:pt x="185530" y="263991"/>
                  </a:lnTo>
                  <a:cubicBezTo>
                    <a:pt x="205310" y="252656"/>
                    <a:pt x="216912" y="229225"/>
                    <a:pt x="216912" y="195983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1" name="Google Shape;581;p16"/>
            <p:cNvSpPr/>
            <p:nvPr/>
          </p:nvSpPr>
          <p:spPr>
            <a:xfrm rot="-1798898">
              <a:off x="7049958" y="2378905"/>
              <a:ext cx="64153" cy="111361"/>
            </a:xfrm>
            <a:custGeom>
              <a:avLst/>
              <a:gdLst/>
              <a:ahLst/>
              <a:cxnLst/>
              <a:rect l="l" t="t" r="r" b="b"/>
              <a:pathLst>
                <a:path w="170980" h="296798" extrusionOk="0">
                  <a:moveTo>
                    <a:pt x="170981" y="148399"/>
                  </a:moveTo>
                  <a:cubicBezTo>
                    <a:pt x="170981" y="230358"/>
                    <a:pt x="132706" y="296799"/>
                    <a:pt x="85491" y="296799"/>
                  </a:cubicBezTo>
                  <a:cubicBezTo>
                    <a:pt x="38276" y="296799"/>
                    <a:pt x="0" y="230358"/>
                    <a:pt x="0" y="148399"/>
                  </a:cubicBezTo>
                  <a:cubicBezTo>
                    <a:pt x="0" y="66441"/>
                    <a:pt x="38276" y="0"/>
                    <a:pt x="85491" y="0"/>
                  </a:cubicBezTo>
                  <a:cubicBezTo>
                    <a:pt x="132706" y="0"/>
                    <a:pt x="170981" y="66441"/>
                    <a:pt x="170981" y="1483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2" name="Google Shape;582;p16"/>
            <p:cNvSpPr/>
            <p:nvPr/>
          </p:nvSpPr>
          <p:spPr>
            <a:xfrm rot="-1798898">
              <a:off x="7061883" y="2407428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3" name="Google Shape;583;p16"/>
            <p:cNvSpPr/>
            <p:nvPr/>
          </p:nvSpPr>
          <p:spPr>
            <a:xfrm rot="-1798898">
              <a:off x="7092283" y="2424967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" name="Google Shape;584;p16"/>
            <p:cNvSpPr/>
            <p:nvPr/>
          </p:nvSpPr>
          <p:spPr>
            <a:xfrm>
              <a:off x="7066445" y="2439547"/>
              <a:ext cx="31881" cy="22328"/>
            </a:xfrm>
            <a:custGeom>
              <a:avLst/>
              <a:gdLst/>
              <a:ahLst/>
              <a:cxnLst/>
              <a:rect l="l" t="t" r="r" b="b"/>
              <a:pathLst>
                <a:path w="85015" h="59542" extrusionOk="0">
                  <a:moveTo>
                    <a:pt x="0" y="0"/>
                  </a:moveTo>
                  <a:cubicBezTo>
                    <a:pt x="0" y="0"/>
                    <a:pt x="13694" y="37528"/>
                    <a:pt x="41272" y="53435"/>
                  </a:cubicBezTo>
                  <a:cubicBezTo>
                    <a:pt x="68849" y="69342"/>
                    <a:pt x="85015" y="49149"/>
                    <a:pt x="85015" y="49149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5" name="Google Shape;585;p16"/>
            <p:cNvSpPr/>
            <p:nvPr/>
          </p:nvSpPr>
          <p:spPr>
            <a:xfrm>
              <a:off x="7016984" y="2605070"/>
              <a:ext cx="22181" cy="70080"/>
            </a:xfrm>
            <a:custGeom>
              <a:avLst/>
              <a:gdLst/>
              <a:ahLst/>
              <a:cxnLst/>
              <a:rect l="l" t="t" r="r" b="b"/>
              <a:pathLst>
                <a:path w="59149" h="186880" extrusionOk="0">
                  <a:moveTo>
                    <a:pt x="0" y="152591"/>
                  </a:moveTo>
                  <a:lnTo>
                    <a:pt x="59149" y="186881"/>
                  </a:lnTo>
                  <a:lnTo>
                    <a:pt x="59149" y="34195"/>
                  </a:lnTo>
                  <a:lnTo>
                    <a:pt x="0" y="0"/>
                  </a:lnTo>
                  <a:lnTo>
                    <a:pt x="0" y="152591"/>
                  </a:lnTo>
                  <a:close/>
                </a:path>
              </a:pathLst>
            </a:custGeom>
            <a:solidFill>
              <a:srgbClr val="1155C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6" name="Google Shape;586;p16"/>
            <p:cNvSpPr/>
            <p:nvPr/>
          </p:nvSpPr>
          <p:spPr>
            <a:xfrm>
              <a:off x="7016984" y="2594731"/>
              <a:ext cx="41045" cy="23253"/>
            </a:xfrm>
            <a:custGeom>
              <a:avLst/>
              <a:gdLst/>
              <a:ahLst/>
              <a:cxnLst/>
              <a:rect l="l" t="t" r="r" b="b"/>
              <a:pathLst>
                <a:path w="109454" h="62007" extrusionOk="0">
                  <a:moveTo>
                    <a:pt x="59149" y="62008"/>
                  </a:moveTo>
                  <a:lnTo>
                    <a:pt x="0" y="27718"/>
                  </a:lnTo>
                  <a:lnTo>
                    <a:pt x="47928" y="0"/>
                  </a:lnTo>
                  <a:lnTo>
                    <a:pt x="109455" y="34480"/>
                  </a:lnTo>
                  <a:lnTo>
                    <a:pt x="59149" y="62008"/>
                  </a:lnTo>
                  <a:close/>
                </a:path>
              </a:pathLst>
            </a:custGeom>
            <a:solidFill>
              <a:srgbClr val="3C7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7" name="Google Shape;587;p16"/>
            <p:cNvSpPr/>
            <p:nvPr/>
          </p:nvSpPr>
          <p:spPr>
            <a:xfrm>
              <a:off x="7057740" y="2595705"/>
              <a:ext cx="65605" cy="105819"/>
            </a:xfrm>
            <a:custGeom>
              <a:avLst/>
              <a:gdLst/>
              <a:ahLst/>
              <a:cxnLst/>
              <a:rect l="l" t="t" r="r" b="b"/>
              <a:pathLst>
                <a:path w="174947" h="282184" extrusionOk="0">
                  <a:moveTo>
                    <a:pt x="174880" y="168275"/>
                  </a:moveTo>
                  <a:cubicBezTo>
                    <a:pt x="174376" y="153645"/>
                    <a:pt x="166502" y="140272"/>
                    <a:pt x="153959" y="132747"/>
                  </a:cubicBezTo>
                  <a:lnTo>
                    <a:pt x="84635" y="92646"/>
                  </a:lnTo>
                  <a:lnTo>
                    <a:pt x="95666" y="40545"/>
                  </a:lnTo>
                  <a:lnTo>
                    <a:pt x="95666" y="36639"/>
                  </a:lnTo>
                  <a:cubicBezTo>
                    <a:pt x="95704" y="31096"/>
                    <a:pt x="94933" y="25581"/>
                    <a:pt x="93383" y="20256"/>
                  </a:cubicBezTo>
                  <a:cubicBezTo>
                    <a:pt x="91291" y="13398"/>
                    <a:pt x="83874" y="-2889"/>
                    <a:pt x="79119" y="445"/>
                  </a:cubicBezTo>
                  <a:lnTo>
                    <a:pt x="6562" y="42450"/>
                  </a:lnTo>
                  <a:cubicBezTo>
                    <a:pt x="2187" y="43688"/>
                    <a:pt x="0" y="48736"/>
                    <a:pt x="0" y="56356"/>
                  </a:cubicBezTo>
                  <a:lnTo>
                    <a:pt x="0" y="184087"/>
                  </a:lnTo>
                  <a:cubicBezTo>
                    <a:pt x="903" y="199546"/>
                    <a:pt x="9053" y="213671"/>
                    <a:pt x="21967" y="222187"/>
                  </a:cubicBezTo>
                  <a:lnTo>
                    <a:pt x="120961" y="279337"/>
                  </a:lnTo>
                  <a:cubicBezTo>
                    <a:pt x="129710" y="284385"/>
                    <a:pt x="137412" y="282480"/>
                    <a:pt x="140741" y="275527"/>
                  </a:cubicBezTo>
                  <a:lnTo>
                    <a:pt x="173739" y="204280"/>
                  </a:lnTo>
                  <a:cubicBezTo>
                    <a:pt x="174728" y="201632"/>
                    <a:pt x="175118" y="198803"/>
                    <a:pt x="174880" y="19599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8" name="Google Shape;588;p16"/>
            <p:cNvSpPr/>
            <p:nvPr/>
          </p:nvSpPr>
          <p:spPr>
            <a:xfrm>
              <a:off x="7095932" y="2684289"/>
              <a:ext cx="13087" cy="23860"/>
            </a:xfrm>
            <a:custGeom>
              <a:avLst/>
              <a:gdLst/>
              <a:ahLst/>
              <a:cxnLst/>
              <a:rect l="l" t="t" r="r" b="b"/>
              <a:pathLst>
                <a:path w="34899" h="63627" extrusionOk="0">
                  <a:moveTo>
                    <a:pt x="0" y="63627"/>
                  </a:moveTo>
                  <a:lnTo>
                    <a:pt x="34900" y="43148"/>
                  </a:lnTo>
                  <a:lnTo>
                    <a:pt x="3138" y="0"/>
                  </a:lnTo>
                  <a:lnTo>
                    <a:pt x="0" y="63627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9" name="Google Shape;589;p16"/>
            <p:cNvSpPr/>
            <p:nvPr/>
          </p:nvSpPr>
          <p:spPr>
            <a:xfrm>
              <a:off x="7045282" y="2602986"/>
              <a:ext cx="65605" cy="105693"/>
            </a:xfrm>
            <a:custGeom>
              <a:avLst/>
              <a:gdLst/>
              <a:ahLst/>
              <a:cxnLst/>
              <a:rect l="l" t="t" r="r" b="b"/>
              <a:pathLst>
                <a:path w="174947" h="281849" extrusionOk="0">
                  <a:moveTo>
                    <a:pt x="174880" y="168254"/>
                  </a:moveTo>
                  <a:cubicBezTo>
                    <a:pt x="174319" y="153642"/>
                    <a:pt x="166464" y="140288"/>
                    <a:pt x="153959" y="132725"/>
                  </a:cubicBezTo>
                  <a:lnTo>
                    <a:pt x="84635" y="92720"/>
                  </a:lnTo>
                  <a:lnTo>
                    <a:pt x="95666" y="40523"/>
                  </a:lnTo>
                  <a:lnTo>
                    <a:pt x="95666" y="36713"/>
                  </a:lnTo>
                  <a:cubicBezTo>
                    <a:pt x="95704" y="31141"/>
                    <a:pt x="94933" y="25588"/>
                    <a:pt x="93383" y="20235"/>
                  </a:cubicBezTo>
                  <a:cubicBezTo>
                    <a:pt x="91291" y="13377"/>
                    <a:pt x="83874" y="-2815"/>
                    <a:pt x="79119" y="423"/>
                  </a:cubicBezTo>
                  <a:lnTo>
                    <a:pt x="6562" y="42429"/>
                  </a:lnTo>
                  <a:cubicBezTo>
                    <a:pt x="2187" y="43667"/>
                    <a:pt x="0" y="48810"/>
                    <a:pt x="0" y="56430"/>
                  </a:cubicBezTo>
                  <a:lnTo>
                    <a:pt x="0" y="183684"/>
                  </a:lnTo>
                  <a:cubicBezTo>
                    <a:pt x="875" y="199153"/>
                    <a:pt x="9025" y="213288"/>
                    <a:pt x="21967" y="221784"/>
                  </a:cubicBezTo>
                  <a:lnTo>
                    <a:pt x="120961" y="278934"/>
                  </a:lnTo>
                  <a:cubicBezTo>
                    <a:pt x="129710" y="284078"/>
                    <a:pt x="137412" y="282173"/>
                    <a:pt x="140741" y="275124"/>
                  </a:cubicBezTo>
                  <a:lnTo>
                    <a:pt x="173739" y="203877"/>
                  </a:lnTo>
                  <a:cubicBezTo>
                    <a:pt x="174728" y="201229"/>
                    <a:pt x="175118" y="198400"/>
                    <a:pt x="174880" y="195590"/>
                  </a:cubicBezTo>
                  <a:close/>
                </a:path>
              </a:pathLst>
            </a:custGeom>
            <a:solidFill>
              <a:srgbClr val="EFBD9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5" name="Google Shape;997;p20">
            <a:extLst>
              <a:ext uri="{FF2B5EF4-FFF2-40B4-BE49-F238E27FC236}">
                <a16:creationId xmlns:a16="http://schemas.microsoft.com/office/drawing/2014/main" id="{B296FE3F-ED5A-4497-832A-E3A57BA90C5C}"/>
              </a:ext>
            </a:extLst>
          </p:cNvPr>
          <p:cNvSpPr txBox="1">
            <a:spLocks/>
          </p:cNvSpPr>
          <p:nvPr/>
        </p:nvSpPr>
        <p:spPr>
          <a:xfrm>
            <a:off x="982820" y="369833"/>
            <a:ext cx="5640900" cy="92403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4800" dirty="0">
                <a:solidFill>
                  <a:schemeClr val="bg1"/>
                </a:solidFill>
                <a:latin typeface="Raleway Thin"/>
              </a:rPr>
              <a:t>Projec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sz="4800" dirty="0">
                <a:solidFill>
                  <a:schemeClr val="bg1"/>
                </a:solidFill>
                <a:latin typeface="Raleway Thin"/>
                <a:sym typeface="Raleway Thin"/>
              </a:rPr>
              <a:t>Motivation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C7A49128-C9B6-473B-A9AE-879F03B37E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TL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420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extrac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transform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loading and storage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2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408" name="Google Shape;408;p15"/>
          <p:cNvGrpSpPr/>
          <p:nvPr/>
        </p:nvGrpSpPr>
        <p:grpSpPr>
          <a:xfrm>
            <a:off x="5435079" y="912423"/>
            <a:ext cx="3239723" cy="3318665"/>
            <a:chOff x="2270525" y="117216"/>
            <a:chExt cx="4650765" cy="4762722"/>
          </a:xfrm>
        </p:grpSpPr>
        <p:sp>
          <p:nvSpPr>
            <p:cNvPr id="409" name="Google Shape;409;p15"/>
            <p:cNvSpPr/>
            <p:nvPr/>
          </p:nvSpPr>
          <p:spPr>
            <a:xfrm>
              <a:off x="2270525" y="2788917"/>
              <a:ext cx="1367464" cy="791146"/>
            </a:xfrm>
            <a:custGeom>
              <a:avLst/>
              <a:gdLst/>
              <a:ahLst/>
              <a:cxnLst/>
              <a:rect l="l" t="t" r="r" b="b"/>
              <a:pathLst>
                <a:path w="1367464" h="791146" extrusionOk="0">
                  <a:moveTo>
                    <a:pt x="1367464" y="395573"/>
                  </a:moveTo>
                  <a:cubicBezTo>
                    <a:pt x="1367464" y="614042"/>
                    <a:pt x="1061347" y="791146"/>
                    <a:pt x="683732" y="791146"/>
                  </a:cubicBezTo>
                  <a:cubicBezTo>
                    <a:pt x="306117" y="791146"/>
                    <a:pt x="0" y="614042"/>
                    <a:pt x="0" y="395573"/>
                  </a:cubicBezTo>
                  <a:cubicBezTo>
                    <a:pt x="0" y="177104"/>
                    <a:pt x="306117" y="0"/>
                    <a:pt x="683732" y="0"/>
                  </a:cubicBezTo>
                  <a:cubicBezTo>
                    <a:pt x="1061347" y="0"/>
                    <a:pt x="1367464" y="177104"/>
                    <a:pt x="1367464" y="395573"/>
                  </a:cubicBezTo>
                  <a:close/>
                </a:path>
              </a:pathLst>
            </a:custGeom>
            <a:solidFill>
              <a:srgbClr val="D6D8E5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15"/>
            <p:cNvSpPr/>
            <p:nvPr/>
          </p:nvSpPr>
          <p:spPr>
            <a:xfrm>
              <a:off x="2565006" y="2921600"/>
              <a:ext cx="762723" cy="441198"/>
            </a:xfrm>
            <a:custGeom>
              <a:avLst/>
              <a:gdLst/>
              <a:ahLst/>
              <a:cxnLst/>
              <a:rect l="l" t="t" r="r" b="b"/>
              <a:pathLst>
                <a:path w="762723" h="441198" extrusionOk="0">
                  <a:moveTo>
                    <a:pt x="762723" y="220599"/>
                  </a:moveTo>
                  <a:cubicBezTo>
                    <a:pt x="762723" y="342432"/>
                    <a:pt x="591982" y="441198"/>
                    <a:pt x="381362" y="441198"/>
                  </a:cubicBezTo>
                  <a:cubicBezTo>
                    <a:pt x="170741" y="441198"/>
                    <a:pt x="0" y="342432"/>
                    <a:pt x="0" y="220599"/>
                  </a:cubicBezTo>
                  <a:cubicBezTo>
                    <a:pt x="0" y="98765"/>
                    <a:pt x="170741" y="0"/>
                    <a:pt x="381362" y="0"/>
                  </a:cubicBezTo>
                  <a:cubicBezTo>
                    <a:pt x="591982" y="0"/>
                    <a:pt x="762723" y="98765"/>
                    <a:pt x="762723" y="220599"/>
                  </a:cubicBezTo>
                  <a:close/>
                </a:path>
              </a:pathLst>
            </a:custGeom>
            <a:solidFill>
              <a:srgbClr val="EDEFF9">
                <a:alpha val="4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15"/>
            <p:cNvSpPr/>
            <p:nvPr/>
          </p:nvSpPr>
          <p:spPr>
            <a:xfrm>
              <a:off x="2834012" y="3000943"/>
              <a:ext cx="217486" cy="125920"/>
            </a:xfrm>
            <a:custGeom>
              <a:avLst/>
              <a:gdLst/>
              <a:ahLst/>
              <a:cxnLst/>
              <a:rect l="l" t="t" r="r" b="b"/>
              <a:pathLst>
                <a:path w="217486" h="125920" extrusionOk="0">
                  <a:moveTo>
                    <a:pt x="217486" y="62960"/>
                  </a:moveTo>
                  <a:cubicBezTo>
                    <a:pt x="217486" y="97732"/>
                    <a:pt x="168800" y="125920"/>
                    <a:pt x="108743" y="125920"/>
                  </a:cubicBezTo>
                  <a:cubicBezTo>
                    <a:pt x="48686" y="125920"/>
                    <a:pt x="0" y="97732"/>
                    <a:pt x="0" y="62960"/>
                  </a:cubicBezTo>
                  <a:cubicBezTo>
                    <a:pt x="0" y="28188"/>
                    <a:pt x="48686" y="0"/>
                    <a:pt x="108743" y="0"/>
                  </a:cubicBezTo>
                  <a:cubicBezTo>
                    <a:pt x="168800" y="0"/>
                    <a:pt x="217486" y="28188"/>
                    <a:pt x="217486" y="62960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15"/>
            <p:cNvSpPr/>
            <p:nvPr/>
          </p:nvSpPr>
          <p:spPr>
            <a:xfrm>
              <a:off x="2841806" y="2229228"/>
              <a:ext cx="209121" cy="823531"/>
            </a:xfrm>
            <a:custGeom>
              <a:avLst/>
              <a:gdLst/>
              <a:ahLst/>
              <a:cxnLst/>
              <a:rect l="l" t="t" r="r" b="b"/>
              <a:pathLst>
                <a:path w="209121" h="823531" extrusionOk="0">
                  <a:moveTo>
                    <a:pt x="0" y="0"/>
                  </a:moveTo>
                  <a:lnTo>
                    <a:pt x="209121" y="0"/>
                  </a:lnTo>
                  <a:lnTo>
                    <a:pt x="209121" y="823532"/>
                  </a:lnTo>
                  <a:lnTo>
                    <a:pt x="0" y="823532"/>
                  </a:ln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15"/>
            <p:cNvSpPr/>
            <p:nvPr/>
          </p:nvSpPr>
          <p:spPr>
            <a:xfrm>
              <a:off x="2831826" y="2112223"/>
              <a:ext cx="249895" cy="580777"/>
            </a:xfrm>
            <a:custGeom>
              <a:avLst/>
              <a:gdLst/>
              <a:ahLst/>
              <a:cxnLst/>
              <a:rect l="l" t="t" r="r" b="b"/>
              <a:pathLst>
                <a:path w="249895" h="580777" extrusionOk="0">
                  <a:moveTo>
                    <a:pt x="0" y="107670"/>
                  </a:moveTo>
                  <a:cubicBezTo>
                    <a:pt x="0" y="107670"/>
                    <a:pt x="5703" y="277025"/>
                    <a:pt x="125948" y="580777"/>
                  </a:cubicBezTo>
                  <a:cubicBezTo>
                    <a:pt x="125948" y="580777"/>
                    <a:pt x="237923" y="336175"/>
                    <a:pt x="249520" y="102527"/>
                  </a:cubicBezTo>
                  <a:cubicBezTo>
                    <a:pt x="261117" y="-131122"/>
                    <a:pt x="0" y="107670"/>
                    <a:pt x="0" y="107670"/>
                  </a:cubicBez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15"/>
            <p:cNvSpPr/>
            <p:nvPr/>
          </p:nvSpPr>
          <p:spPr>
            <a:xfrm>
              <a:off x="2373659" y="1582290"/>
              <a:ext cx="397711" cy="625506"/>
            </a:xfrm>
            <a:custGeom>
              <a:avLst/>
              <a:gdLst/>
              <a:ahLst/>
              <a:cxnLst/>
              <a:rect l="l" t="t" r="r" b="b"/>
              <a:pathLst>
                <a:path w="397711" h="625506" extrusionOk="0">
                  <a:moveTo>
                    <a:pt x="311306" y="0"/>
                  </a:moveTo>
                  <a:lnTo>
                    <a:pt x="33079" y="271272"/>
                  </a:lnTo>
                  <a:lnTo>
                    <a:pt x="0" y="625507"/>
                  </a:lnTo>
                  <a:lnTo>
                    <a:pt x="336495" y="456438"/>
                  </a:lnTo>
                  <a:lnTo>
                    <a:pt x="397711" y="24384"/>
                  </a:lnTo>
                  <a:lnTo>
                    <a:pt x="3113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15"/>
            <p:cNvSpPr/>
            <p:nvPr/>
          </p:nvSpPr>
          <p:spPr>
            <a:xfrm>
              <a:off x="3144177" y="1582290"/>
              <a:ext cx="397710" cy="625506"/>
            </a:xfrm>
            <a:custGeom>
              <a:avLst/>
              <a:gdLst/>
              <a:ahLst/>
              <a:cxnLst/>
              <a:rect l="l" t="t" r="r" b="b"/>
              <a:pathLst>
                <a:path w="397710" h="625506" extrusionOk="0">
                  <a:moveTo>
                    <a:pt x="86405" y="0"/>
                  </a:moveTo>
                  <a:lnTo>
                    <a:pt x="364537" y="271272"/>
                  </a:lnTo>
                  <a:lnTo>
                    <a:pt x="397711" y="625507"/>
                  </a:lnTo>
                  <a:lnTo>
                    <a:pt x="59980" y="444722"/>
                  </a:lnTo>
                  <a:lnTo>
                    <a:pt x="0" y="24384"/>
                  </a:lnTo>
                  <a:lnTo>
                    <a:pt x="8640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" name="Google Shape;416;p15"/>
            <p:cNvSpPr/>
            <p:nvPr/>
          </p:nvSpPr>
          <p:spPr>
            <a:xfrm>
              <a:off x="2815951" y="2102641"/>
              <a:ext cx="276610" cy="160020"/>
            </a:xfrm>
            <a:custGeom>
              <a:avLst/>
              <a:gdLst/>
              <a:ahLst/>
              <a:cxnLst/>
              <a:rect l="l" t="t" r="r" b="b"/>
              <a:pathLst>
                <a:path w="276610" h="160020" extrusionOk="0">
                  <a:moveTo>
                    <a:pt x="276611" y="80010"/>
                  </a:moveTo>
                  <a:cubicBezTo>
                    <a:pt x="276611" y="124198"/>
                    <a:pt x="214689" y="160020"/>
                    <a:pt x="138305" y="160020"/>
                  </a:cubicBezTo>
                  <a:cubicBezTo>
                    <a:pt x="61921" y="160020"/>
                    <a:pt x="0" y="124198"/>
                    <a:pt x="0" y="80010"/>
                  </a:cubicBezTo>
                  <a:cubicBezTo>
                    <a:pt x="0" y="35822"/>
                    <a:pt x="61921" y="0"/>
                    <a:pt x="138305" y="0"/>
                  </a:cubicBezTo>
                  <a:cubicBezTo>
                    <a:pt x="214689" y="0"/>
                    <a:pt x="276611" y="35822"/>
                    <a:pt x="276611" y="80010"/>
                  </a:cubicBezTo>
                  <a:close/>
                </a:path>
              </a:pathLst>
            </a:custGeom>
            <a:solidFill>
              <a:srgbClr val="42495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7" name="Google Shape;417;p15"/>
            <p:cNvSpPr/>
            <p:nvPr/>
          </p:nvSpPr>
          <p:spPr>
            <a:xfrm>
              <a:off x="2744565" y="2030632"/>
              <a:ext cx="418908" cy="74675"/>
            </a:xfrm>
            <a:custGeom>
              <a:avLst/>
              <a:gdLst/>
              <a:ahLst/>
              <a:cxnLst/>
              <a:rect l="l" t="t" r="r" b="b"/>
              <a:pathLst>
                <a:path w="418908" h="74675" extrusionOk="0">
                  <a:moveTo>
                    <a:pt x="0" y="72009"/>
                  </a:moveTo>
                  <a:lnTo>
                    <a:pt x="0" y="0"/>
                  </a:lnTo>
                  <a:lnTo>
                    <a:pt x="418908" y="0"/>
                  </a:lnTo>
                  <a:lnTo>
                    <a:pt x="418908" y="74676"/>
                  </a:lnTo>
                  <a:lnTo>
                    <a:pt x="0" y="72009"/>
                  </a:lnTo>
                  <a:close/>
                </a:path>
              </a:pathLst>
            </a:custGeom>
            <a:solidFill>
              <a:srgbClr val="4949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15"/>
            <p:cNvSpPr/>
            <p:nvPr/>
          </p:nvSpPr>
          <p:spPr>
            <a:xfrm>
              <a:off x="2744565" y="1981197"/>
              <a:ext cx="419383" cy="242697"/>
            </a:xfrm>
            <a:custGeom>
              <a:avLst/>
              <a:gdLst/>
              <a:ahLst/>
              <a:cxnLst/>
              <a:rect l="l" t="t" r="r" b="b"/>
              <a:pathLst>
                <a:path w="419383" h="242697" extrusionOk="0">
                  <a:moveTo>
                    <a:pt x="419384" y="121348"/>
                  </a:moveTo>
                  <a:cubicBezTo>
                    <a:pt x="419384" y="188367"/>
                    <a:pt x="325501" y="242697"/>
                    <a:pt x="209692" y="242697"/>
                  </a:cubicBezTo>
                  <a:cubicBezTo>
                    <a:pt x="93882" y="242697"/>
                    <a:pt x="0" y="188367"/>
                    <a:pt x="0" y="121348"/>
                  </a:cubicBezTo>
                  <a:cubicBezTo>
                    <a:pt x="0" y="54330"/>
                    <a:pt x="93882" y="0"/>
                    <a:pt x="209692" y="0"/>
                  </a:cubicBezTo>
                  <a:cubicBezTo>
                    <a:pt x="325501" y="0"/>
                    <a:pt x="419384" y="54329"/>
                    <a:pt x="419384" y="12134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5"/>
            <p:cNvSpPr/>
            <p:nvPr/>
          </p:nvSpPr>
          <p:spPr>
            <a:xfrm>
              <a:off x="2697703" y="1845275"/>
              <a:ext cx="511777" cy="296036"/>
            </a:xfrm>
            <a:custGeom>
              <a:avLst/>
              <a:gdLst/>
              <a:ahLst/>
              <a:cxnLst/>
              <a:rect l="l" t="t" r="r" b="b"/>
              <a:pathLst>
                <a:path w="511777" h="296036" extrusionOk="0">
                  <a:moveTo>
                    <a:pt x="511777" y="148019"/>
                  </a:moveTo>
                  <a:cubicBezTo>
                    <a:pt x="511777" y="229767"/>
                    <a:pt x="397212" y="296037"/>
                    <a:pt x="255889" y="296037"/>
                  </a:cubicBezTo>
                  <a:cubicBezTo>
                    <a:pt x="114565" y="296037"/>
                    <a:pt x="0" y="229767"/>
                    <a:pt x="0" y="148019"/>
                  </a:cubicBezTo>
                  <a:cubicBezTo>
                    <a:pt x="0" y="66270"/>
                    <a:pt x="114565" y="0"/>
                    <a:pt x="255889" y="0"/>
                  </a:cubicBezTo>
                  <a:cubicBezTo>
                    <a:pt x="397212" y="0"/>
                    <a:pt x="511777" y="66270"/>
                    <a:pt x="511777" y="148019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" name="Google Shape;420;p15"/>
            <p:cNvSpPr/>
            <p:nvPr/>
          </p:nvSpPr>
          <p:spPr>
            <a:xfrm>
              <a:off x="2681484" y="530635"/>
              <a:ext cx="548516" cy="1538895"/>
            </a:xfrm>
            <a:custGeom>
              <a:avLst/>
              <a:gdLst/>
              <a:ahLst/>
              <a:cxnLst/>
              <a:rect l="l" t="t" r="r" b="b"/>
              <a:pathLst>
                <a:path w="548516" h="1538895" extrusionOk="0">
                  <a:moveTo>
                    <a:pt x="548433" y="1199007"/>
                  </a:moveTo>
                  <a:lnTo>
                    <a:pt x="548433" y="1199007"/>
                  </a:lnTo>
                  <a:cubicBezTo>
                    <a:pt x="548433" y="1210913"/>
                    <a:pt x="548433" y="1222629"/>
                    <a:pt x="548433" y="1233964"/>
                  </a:cubicBezTo>
                  <a:cubicBezTo>
                    <a:pt x="548433" y="1243489"/>
                    <a:pt x="548433" y="1253014"/>
                    <a:pt x="548433" y="1262539"/>
                  </a:cubicBezTo>
                  <a:cubicBezTo>
                    <a:pt x="548433" y="1275398"/>
                    <a:pt x="547767" y="1287685"/>
                    <a:pt x="547292" y="1299686"/>
                  </a:cubicBezTo>
                  <a:cubicBezTo>
                    <a:pt x="547292" y="1314641"/>
                    <a:pt x="546246" y="1328833"/>
                    <a:pt x="545486" y="1342454"/>
                  </a:cubicBezTo>
                  <a:cubicBezTo>
                    <a:pt x="544725" y="1356074"/>
                    <a:pt x="544060" y="1369409"/>
                    <a:pt x="543109" y="1381697"/>
                  </a:cubicBezTo>
                  <a:cubicBezTo>
                    <a:pt x="539212" y="1435513"/>
                    <a:pt x="539307" y="1475137"/>
                    <a:pt x="532653" y="1490662"/>
                  </a:cubicBezTo>
                  <a:cubicBezTo>
                    <a:pt x="496437" y="1575530"/>
                    <a:pt x="373911" y="1528762"/>
                    <a:pt x="313456" y="1498283"/>
                  </a:cubicBezTo>
                  <a:cubicBezTo>
                    <a:pt x="291118" y="1487043"/>
                    <a:pt x="276384" y="1477804"/>
                    <a:pt x="276384" y="1477804"/>
                  </a:cubicBezTo>
                  <a:lnTo>
                    <a:pt x="270871" y="1477804"/>
                  </a:lnTo>
                  <a:cubicBezTo>
                    <a:pt x="270871" y="1477804"/>
                    <a:pt x="253381" y="1487329"/>
                    <a:pt x="227526" y="1497616"/>
                  </a:cubicBezTo>
                  <a:cubicBezTo>
                    <a:pt x="164124" y="1523333"/>
                    <a:pt x="51104" y="1568958"/>
                    <a:pt x="19735" y="1490377"/>
                  </a:cubicBezTo>
                  <a:cubicBezTo>
                    <a:pt x="14127" y="1476280"/>
                    <a:pt x="8519" y="1429703"/>
                    <a:pt x="5097" y="1380935"/>
                  </a:cubicBezTo>
                  <a:cubicBezTo>
                    <a:pt x="4241" y="1368743"/>
                    <a:pt x="3481" y="1355693"/>
                    <a:pt x="2721" y="1341787"/>
                  </a:cubicBezTo>
                  <a:cubicBezTo>
                    <a:pt x="1960" y="1327880"/>
                    <a:pt x="1580" y="1314069"/>
                    <a:pt x="1010" y="1299115"/>
                  </a:cubicBezTo>
                  <a:cubicBezTo>
                    <a:pt x="1010" y="1287208"/>
                    <a:pt x="344" y="1274921"/>
                    <a:pt x="59" y="1262158"/>
                  </a:cubicBezTo>
                  <a:cubicBezTo>
                    <a:pt x="59" y="1252633"/>
                    <a:pt x="59" y="1243108"/>
                    <a:pt x="59" y="1233583"/>
                  </a:cubicBezTo>
                  <a:lnTo>
                    <a:pt x="59" y="1233583"/>
                  </a:lnTo>
                  <a:lnTo>
                    <a:pt x="59" y="1198626"/>
                  </a:lnTo>
                  <a:lnTo>
                    <a:pt x="59" y="1198626"/>
                  </a:lnTo>
                  <a:cubicBezTo>
                    <a:pt x="-1652" y="866299"/>
                    <a:pt x="33518" y="334899"/>
                    <a:pt x="149676" y="108109"/>
                  </a:cubicBezTo>
                  <a:cubicBezTo>
                    <a:pt x="183230" y="42481"/>
                    <a:pt x="223534" y="2381"/>
                    <a:pt x="271727" y="0"/>
                  </a:cubicBezTo>
                  <a:lnTo>
                    <a:pt x="271727" y="0"/>
                  </a:lnTo>
                  <a:lnTo>
                    <a:pt x="277240" y="0"/>
                  </a:lnTo>
                  <a:lnTo>
                    <a:pt x="277240" y="0"/>
                  </a:lnTo>
                  <a:cubicBezTo>
                    <a:pt x="324768" y="2476"/>
                    <a:pt x="365546" y="42386"/>
                    <a:pt x="399196" y="107728"/>
                  </a:cubicBezTo>
                  <a:cubicBezTo>
                    <a:pt x="513737" y="333661"/>
                    <a:pt x="550524" y="862965"/>
                    <a:pt x="548433" y="1199007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15"/>
            <p:cNvSpPr/>
            <p:nvPr/>
          </p:nvSpPr>
          <p:spPr>
            <a:xfrm>
              <a:off x="2858251" y="1222531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9"/>
                    <a:pt x="96671" y="193739"/>
                  </a:cubicBezTo>
                  <a:cubicBezTo>
                    <a:pt x="43281" y="193739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5"/>
            <p:cNvSpPr/>
            <p:nvPr/>
          </p:nvSpPr>
          <p:spPr>
            <a:xfrm>
              <a:off x="2844088" y="1208338"/>
              <a:ext cx="221668" cy="222122"/>
            </a:xfrm>
            <a:custGeom>
              <a:avLst/>
              <a:gdLst/>
              <a:ahLst/>
              <a:cxnLst/>
              <a:rect l="l" t="t" r="r" b="b"/>
              <a:pathLst>
                <a:path w="221668" h="222122" extrusionOk="0">
                  <a:moveTo>
                    <a:pt x="110834" y="222123"/>
                  </a:moveTo>
                  <a:cubicBezTo>
                    <a:pt x="49623" y="222123"/>
                    <a:pt x="0" y="172402"/>
                    <a:pt x="0" y="111061"/>
                  </a:cubicBezTo>
                  <a:cubicBezTo>
                    <a:pt x="0" y="49720"/>
                    <a:pt x="49623" y="0"/>
                    <a:pt x="110834" y="0"/>
                  </a:cubicBezTo>
                  <a:cubicBezTo>
                    <a:pt x="172046" y="0"/>
                    <a:pt x="221669" y="49720"/>
                    <a:pt x="221669" y="111061"/>
                  </a:cubicBezTo>
                  <a:cubicBezTo>
                    <a:pt x="221617" y="172374"/>
                    <a:pt x="172025" y="222066"/>
                    <a:pt x="110834" y="222123"/>
                  </a:cubicBezTo>
                  <a:close/>
                  <a:moveTo>
                    <a:pt x="110834" y="28384"/>
                  </a:moveTo>
                  <a:cubicBezTo>
                    <a:pt x="65267" y="28327"/>
                    <a:pt x="28284" y="65303"/>
                    <a:pt x="28231" y="110966"/>
                  </a:cubicBezTo>
                  <a:cubicBezTo>
                    <a:pt x="28179" y="156629"/>
                    <a:pt x="65077" y="193681"/>
                    <a:pt x="110644" y="193738"/>
                  </a:cubicBezTo>
                  <a:cubicBezTo>
                    <a:pt x="156212" y="193796"/>
                    <a:pt x="193195" y="156820"/>
                    <a:pt x="193247" y="111157"/>
                  </a:cubicBezTo>
                  <a:cubicBezTo>
                    <a:pt x="193247" y="111128"/>
                    <a:pt x="193247" y="111090"/>
                    <a:pt x="193247" y="111061"/>
                  </a:cubicBezTo>
                  <a:cubicBezTo>
                    <a:pt x="193195" y="65456"/>
                    <a:pt x="156343" y="28489"/>
                    <a:pt x="110834" y="28384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15"/>
            <p:cNvSpPr/>
            <p:nvPr/>
          </p:nvSpPr>
          <p:spPr>
            <a:xfrm>
              <a:off x="2858251" y="937733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8"/>
                    <a:pt x="96671" y="193738"/>
                  </a:cubicBezTo>
                  <a:cubicBezTo>
                    <a:pt x="43281" y="193738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Google Shape;424;p15"/>
            <p:cNvSpPr/>
            <p:nvPr/>
          </p:nvSpPr>
          <p:spPr>
            <a:xfrm>
              <a:off x="2843898" y="923636"/>
              <a:ext cx="221858" cy="222313"/>
            </a:xfrm>
            <a:custGeom>
              <a:avLst/>
              <a:gdLst/>
              <a:ahLst/>
              <a:cxnLst/>
              <a:rect l="l" t="t" r="r" b="b"/>
              <a:pathLst>
                <a:path w="221858" h="222313" extrusionOk="0">
                  <a:moveTo>
                    <a:pt x="111025" y="222314"/>
                  </a:moveTo>
                  <a:cubicBezTo>
                    <a:pt x="49760" y="222371"/>
                    <a:pt x="52" y="172641"/>
                    <a:pt x="0" y="111252"/>
                  </a:cubicBezTo>
                  <a:cubicBezTo>
                    <a:pt x="-52" y="49861"/>
                    <a:pt x="49570" y="52"/>
                    <a:pt x="110834" y="0"/>
                  </a:cubicBezTo>
                  <a:cubicBezTo>
                    <a:pt x="172062" y="-52"/>
                    <a:pt x="221754" y="49614"/>
                    <a:pt x="221859" y="110966"/>
                  </a:cubicBezTo>
                  <a:cubicBezTo>
                    <a:pt x="221911" y="172374"/>
                    <a:pt x="172305" y="222209"/>
                    <a:pt x="111025" y="222314"/>
                  </a:cubicBezTo>
                  <a:close/>
                  <a:moveTo>
                    <a:pt x="111025" y="28575"/>
                  </a:moveTo>
                  <a:cubicBezTo>
                    <a:pt x="65457" y="28523"/>
                    <a:pt x="28474" y="65496"/>
                    <a:pt x="28422" y="111157"/>
                  </a:cubicBezTo>
                  <a:cubicBezTo>
                    <a:pt x="28369" y="156820"/>
                    <a:pt x="65267" y="193872"/>
                    <a:pt x="110834" y="193929"/>
                  </a:cubicBezTo>
                  <a:cubicBezTo>
                    <a:pt x="156402" y="193986"/>
                    <a:pt x="193385" y="157010"/>
                    <a:pt x="193437" y="111347"/>
                  </a:cubicBezTo>
                  <a:cubicBezTo>
                    <a:pt x="193437" y="111283"/>
                    <a:pt x="193437" y="111221"/>
                    <a:pt x="193437" y="111157"/>
                  </a:cubicBezTo>
                  <a:cubicBezTo>
                    <a:pt x="193490" y="65496"/>
                    <a:pt x="156592" y="28437"/>
                    <a:pt x="111025" y="28385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5"/>
            <p:cNvSpPr/>
            <p:nvPr/>
          </p:nvSpPr>
          <p:spPr>
            <a:xfrm>
              <a:off x="2680593" y="1921189"/>
              <a:ext cx="549324" cy="167997"/>
            </a:xfrm>
            <a:custGeom>
              <a:avLst/>
              <a:gdLst/>
              <a:ahLst/>
              <a:cxnLst/>
              <a:rect l="l" t="t" r="r" b="b"/>
              <a:pathLst>
                <a:path w="549324" h="167997" extrusionOk="0">
                  <a:moveTo>
                    <a:pt x="549324" y="0"/>
                  </a:moveTo>
                  <a:cubicBezTo>
                    <a:pt x="549324" y="11906"/>
                    <a:pt x="549324" y="23622"/>
                    <a:pt x="549324" y="35052"/>
                  </a:cubicBezTo>
                  <a:cubicBezTo>
                    <a:pt x="539819" y="66484"/>
                    <a:pt x="513964" y="96583"/>
                    <a:pt x="471949" y="120777"/>
                  </a:cubicBezTo>
                  <a:cubicBezTo>
                    <a:pt x="363016" y="183737"/>
                    <a:pt x="186784" y="183737"/>
                    <a:pt x="77375" y="120777"/>
                  </a:cubicBezTo>
                  <a:cubicBezTo>
                    <a:pt x="35361" y="96393"/>
                    <a:pt x="9601" y="66199"/>
                    <a:pt x="0" y="35052"/>
                  </a:cubicBezTo>
                  <a:lnTo>
                    <a:pt x="0" y="35052"/>
                  </a:lnTo>
                  <a:lnTo>
                    <a:pt x="0" y="95"/>
                  </a:lnTo>
                  <a:cubicBezTo>
                    <a:pt x="9506" y="32099"/>
                    <a:pt x="35170" y="62579"/>
                    <a:pt x="77755" y="87249"/>
                  </a:cubicBezTo>
                  <a:cubicBezTo>
                    <a:pt x="186784" y="150209"/>
                    <a:pt x="363396" y="150209"/>
                    <a:pt x="472329" y="87249"/>
                  </a:cubicBezTo>
                  <a:cubicBezTo>
                    <a:pt x="514059" y="62293"/>
                    <a:pt x="540484" y="31909"/>
                    <a:pt x="5493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15"/>
            <p:cNvSpPr/>
            <p:nvPr/>
          </p:nvSpPr>
          <p:spPr>
            <a:xfrm>
              <a:off x="2680308" y="1976244"/>
              <a:ext cx="548753" cy="165782"/>
            </a:xfrm>
            <a:custGeom>
              <a:avLst/>
              <a:gdLst/>
              <a:ahLst/>
              <a:cxnLst/>
              <a:rect l="l" t="t" r="r" b="b"/>
              <a:pathLst>
                <a:path w="548753" h="165782" extrusionOk="0">
                  <a:moveTo>
                    <a:pt x="548754" y="381"/>
                  </a:moveTo>
                  <a:cubicBezTo>
                    <a:pt x="548754" y="13145"/>
                    <a:pt x="548088" y="25527"/>
                    <a:pt x="547613" y="37433"/>
                  </a:cubicBezTo>
                  <a:cubicBezTo>
                    <a:pt x="536967" y="67151"/>
                    <a:pt x="511682" y="95441"/>
                    <a:pt x="471569" y="118491"/>
                  </a:cubicBezTo>
                  <a:cubicBezTo>
                    <a:pt x="362636" y="181546"/>
                    <a:pt x="186403" y="181546"/>
                    <a:pt x="76995" y="118491"/>
                  </a:cubicBezTo>
                  <a:cubicBezTo>
                    <a:pt x="36976" y="95250"/>
                    <a:pt x="11692" y="66770"/>
                    <a:pt x="951" y="36862"/>
                  </a:cubicBezTo>
                  <a:cubicBezTo>
                    <a:pt x="951" y="24955"/>
                    <a:pt x="285" y="12668"/>
                    <a:pt x="0" y="0"/>
                  </a:cubicBezTo>
                  <a:cubicBezTo>
                    <a:pt x="9506" y="31051"/>
                    <a:pt x="35456" y="60579"/>
                    <a:pt x="76900" y="84582"/>
                  </a:cubicBezTo>
                  <a:cubicBezTo>
                    <a:pt x="185928" y="147638"/>
                    <a:pt x="362541" y="147638"/>
                    <a:pt x="471474" y="84582"/>
                  </a:cubicBezTo>
                  <a:cubicBezTo>
                    <a:pt x="513108" y="60674"/>
                    <a:pt x="538773" y="31242"/>
                    <a:pt x="548754" y="3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15"/>
            <p:cNvSpPr/>
            <p:nvPr/>
          </p:nvSpPr>
          <p:spPr>
            <a:xfrm>
              <a:off x="2683349" y="1877470"/>
              <a:ext cx="542765" cy="158087"/>
            </a:xfrm>
            <a:custGeom>
              <a:avLst/>
              <a:gdLst/>
              <a:ahLst/>
              <a:cxnLst/>
              <a:rect l="l" t="t" r="r" b="b"/>
              <a:pathLst>
                <a:path w="542765" h="158087" extrusionOk="0">
                  <a:moveTo>
                    <a:pt x="542765" y="762"/>
                  </a:moveTo>
                  <a:cubicBezTo>
                    <a:pt x="531264" y="28670"/>
                    <a:pt x="506549" y="55245"/>
                    <a:pt x="468812" y="76962"/>
                  </a:cubicBezTo>
                  <a:cubicBezTo>
                    <a:pt x="359879" y="139922"/>
                    <a:pt x="183647" y="139922"/>
                    <a:pt x="74238" y="76962"/>
                  </a:cubicBezTo>
                  <a:cubicBezTo>
                    <a:pt x="36216" y="54864"/>
                    <a:pt x="11502" y="28194"/>
                    <a:pt x="0" y="0"/>
                  </a:cubicBezTo>
                  <a:cubicBezTo>
                    <a:pt x="760" y="13906"/>
                    <a:pt x="1521" y="26956"/>
                    <a:pt x="2376" y="39148"/>
                  </a:cubicBezTo>
                  <a:cubicBezTo>
                    <a:pt x="14639" y="65437"/>
                    <a:pt x="38592" y="90202"/>
                    <a:pt x="74238" y="110871"/>
                  </a:cubicBezTo>
                  <a:cubicBezTo>
                    <a:pt x="120732" y="136255"/>
                    <a:pt x="172028" y="151571"/>
                    <a:pt x="224806" y="155829"/>
                  </a:cubicBezTo>
                  <a:cubicBezTo>
                    <a:pt x="253246" y="158601"/>
                    <a:pt x="281876" y="158820"/>
                    <a:pt x="310355" y="156496"/>
                  </a:cubicBezTo>
                  <a:cubicBezTo>
                    <a:pt x="365732" y="152991"/>
                    <a:pt x="419677" y="137417"/>
                    <a:pt x="468432" y="110871"/>
                  </a:cubicBezTo>
                  <a:cubicBezTo>
                    <a:pt x="503793" y="90392"/>
                    <a:pt x="527652" y="65913"/>
                    <a:pt x="540009" y="399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5"/>
            <p:cNvSpPr/>
            <p:nvPr/>
          </p:nvSpPr>
          <p:spPr>
            <a:xfrm>
              <a:off x="2829449" y="530444"/>
              <a:ext cx="249519" cy="126863"/>
            </a:xfrm>
            <a:custGeom>
              <a:avLst/>
              <a:gdLst/>
              <a:ahLst/>
              <a:cxnLst/>
              <a:rect l="l" t="t" r="r" b="b"/>
              <a:pathLst>
                <a:path w="249519" h="126863" extrusionOk="0">
                  <a:moveTo>
                    <a:pt x="249520" y="108109"/>
                  </a:moveTo>
                  <a:cubicBezTo>
                    <a:pt x="168218" y="133115"/>
                    <a:pt x="81302" y="133115"/>
                    <a:pt x="0" y="108109"/>
                  </a:cubicBezTo>
                  <a:cubicBezTo>
                    <a:pt x="33555" y="42481"/>
                    <a:pt x="73858" y="2381"/>
                    <a:pt x="122051" y="0"/>
                  </a:cubicBezTo>
                  <a:lnTo>
                    <a:pt x="122051" y="0"/>
                  </a:lnTo>
                  <a:lnTo>
                    <a:pt x="127564" y="0"/>
                  </a:lnTo>
                  <a:lnTo>
                    <a:pt x="127564" y="0"/>
                  </a:lnTo>
                  <a:cubicBezTo>
                    <a:pt x="175567" y="2857"/>
                    <a:pt x="215870" y="42767"/>
                    <a:pt x="249520" y="108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15"/>
            <p:cNvSpPr/>
            <p:nvPr/>
          </p:nvSpPr>
          <p:spPr>
            <a:xfrm>
              <a:off x="2934010" y="1583052"/>
              <a:ext cx="47432" cy="623982"/>
            </a:xfrm>
            <a:custGeom>
              <a:avLst/>
              <a:gdLst/>
              <a:ahLst/>
              <a:cxnLst/>
              <a:rect l="l" t="t" r="r" b="b"/>
              <a:pathLst>
                <a:path w="47432" h="623982" extrusionOk="0">
                  <a:moveTo>
                    <a:pt x="0" y="0"/>
                  </a:moveTo>
                  <a:lnTo>
                    <a:pt x="47433" y="0"/>
                  </a:lnTo>
                  <a:lnTo>
                    <a:pt x="47433" y="623983"/>
                  </a:lnTo>
                  <a:lnTo>
                    <a:pt x="0" y="6239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30" name="Google Shape;430;p15"/>
            <p:cNvGrpSpPr/>
            <p:nvPr/>
          </p:nvGrpSpPr>
          <p:grpSpPr>
            <a:xfrm>
              <a:off x="4031993" y="117216"/>
              <a:ext cx="2889297" cy="3901793"/>
              <a:chOff x="5533368" y="1047716"/>
              <a:chExt cx="2889297" cy="3901793"/>
            </a:xfrm>
          </p:grpSpPr>
          <p:sp>
            <p:nvSpPr>
              <p:cNvPr id="431" name="Google Shape;431;p15"/>
              <p:cNvSpPr/>
              <p:nvPr/>
            </p:nvSpPr>
            <p:spPr>
              <a:xfrm>
                <a:off x="6153722" y="4072604"/>
                <a:ext cx="1090544" cy="630910"/>
              </a:xfrm>
              <a:custGeom>
                <a:avLst/>
                <a:gdLst/>
                <a:ahLst/>
                <a:cxnLst/>
                <a:rect l="l" t="t" r="r" b="b"/>
                <a:pathLst>
                  <a:path w="1090544" h="630910" extrusionOk="0">
                    <a:moveTo>
                      <a:pt x="578197" y="615410"/>
                    </a:moveTo>
                    <a:lnTo>
                      <a:pt x="26877" y="296418"/>
                    </a:lnTo>
                    <a:cubicBezTo>
                      <a:pt x="-12951" y="273367"/>
                      <a:pt x="-7913" y="233172"/>
                      <a:pt x="37998" y="206597"/>
                    </a:cubicBezTo>
                    <a:lnTo>
                      <a:pt x="395216" y="0"/>
                    </a:lnTo>
                    <a:lnTo>
                      <a:pt x="1090545" y="402241"/>
                    </a:lnTo>
                    <a:lnTo>
                      <a:pt x="733327" y="608933"/>
                    </a:lnTo>
                    <a:cubicBezTo>
                      <a:pt x="687320" y="635508"/>
                      <a:pt x="617930" y="638365"/>
                      <a:pt x="578197" y="61541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15"/>
              <p:cNvSpPr/>
              <p:nvPr/>
            </p:nvSpPr>
            <p:spPr>
              <a:xfrm>
                <a:off x="6193969" y="4048886"/>
                <a:ext cx="1090601" cy="630901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01" extrusionOk="0">
                    <a:moveTo>
                      <a:pt x="578158" y="615410"/>
                    </a:moveTo>
                    <a:lnTo>
                      <a:pt x="26838" y="296323"/>
                    </a:lnTo>
                    <a:cubicBezTo>
                      <a:pt x="-12895" y="273368"/>
                      <a:pt x="-7952" y="233172"/>
                      <a:pt x="37960" y="206597"/>
                    </a:cubicBezTo>
                    <a:lnTo>
                      <a:pt x="395272" y="0"/>
                    </a:lnTo>
                    <a:lnTo>
                      <a:pt x="1090601" y="402241"/>
                    </a:lnTo>
                    <a:lnTo>
                      <a:pt x="733764" y="608838"/>
                    </a:lnTo>
                    <a:cubicBezTo>
                      <a:pt x="687377" y="635508"/>
                      <a:pt x="617891" y="638366"/>
                      <a:pt x="578158" y="61541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15"/>
              <p:cNvSpPr/>
              <p:nvPr/>
            </p:nvSpPr>
            <p:spPr>
              <a:xfrm>
                <a:off x="7252346" y="4430077"/>
                <a:ext cx="32128" cy="21050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21050" extrusionOk="0">
                    <a:moveTo>
                      <a:pt x="32129" y="21050"/>
                    </a:moveTo>
                    <a:lnTo>
                      <a:pt x="32129" y="0"/>
                    </a:lnTo>
                    <a:lnTo>
                      <a:pt x="0" y="18574"/>
                    </a:lnTo>
                    <a:lnTo>
                      <a:pt x="32129" y="2105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15"/>
              <p:cNvSpPr/>
              <p:nvPr/>
            </p:nvSpPr>
            <p:spPr>
              <a:xfrm>
                <a:off x="6193906" y="4285773"/>
                <a:ext cx="32984" cy="21431"/>
              </a:xfrm>
              <a:custGeom>
                <a:avLst/>
                <a:gdLst/>
                <a:ahLst/>
                <a:cxnLst/>
                <a:rect l="l" t="t" r="r" b="b"/>
                <a:pathLst>
                  <a:path w="32984" h="21431" extrusionOk="0">
                    <a:moveTo>
                      <a:pt x="0" y="21431"/>
                    </a:moveTo>
                    <a:lnTo>
                      <a:pt x="0" y="0"/>
                    </a:lnTo>
                    <a:lnTo>
                      <a:pt x="32984" y="13716"/>
                    </a:lnTo>
                    <a:lnTo>
                      <a:pt x="0" y="214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15"/>
              <p:cNvSpPr/>
              <p:nvPr/>
            </p:nvSpPr>
            <p:spPr>
              <a:xfrm>
                <a:off x="6193969" y="4027741"/>
                <a:ext cx="1090601" cy="630949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49" extrusionOk="0">
                    <a:moveTo>
                      <a:pt x="578158" y="615410"/>
                    </a:moveTo>
                    <a:lnTo>
                      <a:pt x="26838" y="296418"/>
                    </a:lnTo>
                    <a:cubicBezTo>
                      <a:pt x="-12895" y="273368"/>
                      <a:pt x="-7952" y="233267"/>
                      <a:pt x="37960" y="206693"/>
                    </a:cubicBezTo>
                    <a:lnTo>
                      <a:pt x="395272" y="0"/>
                    </a:lnTo>
                    <a:lnTo>
                      <a:pt x="1090601" y="402336"/>
                    </a:lnTo>
                    <a:lnTo>
                      <a:pt x="733764" y="608934"/>
                    </a:lnTo>
                    <a:cubicBezTo>
                      <a:pt x="687377" y="635508"/>
                      <a:pt x="617891" y="638461"/>
                      <a:pt x="578158" y="615410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15"/>
              <p:cNvSpPr/>
              <p:nvPr/>
            </p:nvSpPr>
            <p:spPr>
              <a:xfrm>
                <a:off x="6504927" y="3742563"/>
                <a:ext cx="779547" cy="687514"/>
              </a:xfrm>
              <a:custGeom>
                <a:avLst/>
                <a:gdLst/>
                <a:ahLst/>
                <a:cxnLst/>
                <a:rect l="l" t="t" r="r" b="b"/>
                <a:pathLst>
                  <a:path w="779547" h="687514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0"/>
                    </a:lnTo>
                    <a:lnTo>
                      <a:pt x="779548" y="687514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15"/>
              <p:cNvSpPr/>
              <p:nvPr/>
            </p:nvSpPr>
            <p:spPr>
              <a:xfrm>
                <a:off x="7254152" y="4405788"/>
                <a:ext cx="30322" cy="36004"/>
              </a:xfrm>
              <a:custGeom>
                <a:avLst/>
                <a:gdLst/>
                <a:ahLst/>
                <a:cxnLst/>
                <a:rect l="l" t="t" r="r" b="b"/>
                <a:pathLst>
                  <a:path w="30322" h="36004" extrusionOk="0">
                    <a:moveTo>
                      <a:pt x="9981" y="36004"/>
                    </a:moveTo>
                    <a:lnTo>
                      <a:pt x="30323" y="242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15"/>
              <p:cNvSpPr/>
              <p:nvPr/>
            </p:nvSpPr>
            <p:spPr>
              <a:xfrm>
                <a:off x="6482779" y="3753326"/>
                <a:ext cx="781258" cy="688466"/>
              </a:xfrm>
              <a:custGeom>
                <a:avLst/>
                <a:gdLst/>
                <a:ahLst/>
                <a:cxnLst/>
                <a:rect l="l" t="t" r="r" b="b"/>
                <a:pathLst>
                  <a:path w="781258" h="688466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1"/>
                    </a:lnTo>
                    <a:lnTo>
                      <a:pt x="781259" y="688467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15"/>
              <p:cNvSpPr/>
              <p:nvPr/>
            </p:nvSpPr>
            <p:spPr>
              <a:xfrm>
                <a:off x="5563120" y="1047716"/>
                <a:ext cx="2859545" cy="3884751"/>
              </a:xfrm>
              <a:custGeom>
                <a:avLst/>
                <a:gdLst/>
                <a:ahLst/>
                <a:cxnLst/>
                <a:rect l="l" t="t" r="r" b="b"/>
                <a:pathLst>
                  <a:path w="2859545" h="3884751" extrusionOk="0">
                    <a:moveTo>
                      <a:pt x="2790441" y="3876709"/>
                    </a:moveTo>
                    <a:lnTo>
                      <a:pt x="69105" y="2302131"/>
                    </a:lnTo>
                    <a:cubicBezTo>
                      <a:pt x="31083" y="2280033"/>
                      <a:pt x="0" y="2220787"/>
                      <a:pt x="0" y="2169829"/>
                    </a:cubicBezTo>
                    <a:lnTo>
                      <a:pt x="0" y="60708"/>
                    </a:lnTo>
                    <a:cubicBezTo>
                      <a:pt x="0" y="9654"/>
                      <a:pt x="30988" y="-13778"/>
                      <a:pt x="69105" y="8320"/>
                    </a:cubicBezTo>
                    <a:lnTo>
                      <a:pt x="2790441" y="1582517"/>
                    </a:lnTo>
                    <a:cubicBezTo>
                      <a:pt x="2828463" y="1604615"/>
                      <a:pt x="2859546" y="1663861"/>
                      <a:pt x="2859546" y="1714819"/>
                    </a:cubicBezTo>
                    <a:lnTo>
                      <a:pt x="2859546" y="3823940"/>
                    </a:lnTo>
                    <a:cubicBezTo>
                      <a:pt x="2859261" y="3874899"/>
                      <a:pt x="2828463" y="3898330"/>
                      <a:pt x="2790441" y="3876709"/>
                    </a:cubicBez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15"/>
              <p:cNvSpPr/>
              <p:nvPr/>
            </p:nvSpPr>
            <p:spPr>
              <a:xfrm>
                <a:off x="8367249" y="4838795"/>
                <a:ext cx="30132" cy="106965"/>
              </a:xfrm>
              <a:custGeom>
                <a:avLst/>
                <a:gdLst/>
                <a:ahLst/>
                <a:cxnLst/>
                <a:rect l="l" t="t" r="r" b="b"/>
                <a:pathLst>
                  <a:path w="30132" h="106965" extrusionOk="0">
                    <a:moveTo>
                      <a:pt x="0" y="106966"/>
                    </a:moveTo>
                    <a:lnTo>
                      <a:pt x="30132" y="89535"/>
                    </a:lnTo>
                    <a:lnTo>
                      <a:pt x="17110" y="0"/>
                    </a:lnTo>
                    <a:lnTo>
                      <a:pt x="0" y="106966"/>
                    </a:ln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15"/>
              <p:cNvSpPr/>
              <p:nvPr/>
            </p:nvSpPr>
            <p:spPr>
              <a:xfrm>
                <a:off x="5558272" y="1051845"/>
                <a:ext cx="72337" cy="31155"/>
              </a:xfrm>
              <a:custGeom>
                <a:avLst/>
                <a:gdLst/>
                <a:ahLst/>
                <a:cxnLst/>
                <a:rect l="l" t="t" r="r" b="b"/>
                <a:pathLst>
                  <a:path w="72337" h="31155" extrusionOk="0">
                    <a:moveTo>
                      <a:pt x="0" y="17240"/>
                    </a:moveTo>
                    <a:lnTo>
                      <a:pt x="29657" y="0"/>
                    </a:lnTo>
                    <a:lnTo>
                      <a:pt x="72337" y="24479"/>
                    </a:lnTo>
                    <a:cubicBezTo>
                      <a:pt x="72337" y="24479"/>
                      <a:pt x="26901" y="31433"/>
                      <a:pt x="25760" y="31147"/>
                    </a:cubicBezTo>
                    <a:cubicBezTo>
                      <a:pt x="24619" y="30861"/>
                      <a:pt x="0" y="17240"/>
                      <a:pt x="0" y="1724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15"/>
              <p:cNvSpPr/>
              <p:nvPr/>
            </p:nvSpPr>
            <p:spPr>
              <a:xfrm>
                <a:off x="5538216" y="1062192"/>
                <a:ext cx="2859165" cy="3884558"/>
              </a:xfrm>
              <a:custGeom>
                <a:avLst/>
                <a:gdLst/>
                <a:ahLst/>
                <a:cxnLst/>
                <a:rect l="l" t="t" r="r" b="b"/>
                <a:pathLst>
                  <a:path w="2859165" h="3884558" extrusionOk="0">
                    <a:moveTo>
                      <a:pt x="2790061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789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893" y="-13776"/>
                      <a:pt x="69105" y="8322"/>
                    </a:cubicBezTo>
                    <a:lnTo>
                      <a:pt x="2790061" y="1582519"/>
                    </a:lnTo>
                    <a:cubicBezTo>
                      <a:pt x="2828083" y="1604617"/>
                      <a:pt x="2859166" y="1663862"/>
                      <a:pt x="2859166" y="1714821"/>
                    </a:cubicBezTo>
                    <a:lnTo>
                      <a:pt x="2859166" y="3824132"/>
                    </a:lnTo>
                    <a:cubicBezTo>
                      <a:pt x="2859166" y="3874900"/>
                      <a:pt x="2828273" y="3898332"/>
                      <a:pt x="2790061" y="3876234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15"/>
              <p:cNvSpPr/>
              <p:nvPr/>
            </p:nvSpPr>
            <p:spPr>
              <a:xfrm>
                <a:off x="5533368" y="1064955"/>
                <a:ext cx="2859260" cy="3884554"/>
              </a:xfrm>
              <a:custGeom>
                <a:avLst/>
                <a:gdLst/>
                <a:ahLst/>
                <a:cxnLst/>
                <a:rect l="l" t="t" r="r" b="b"/>
                <a:pathLst>
                  <a:path w="2859260" h="3884554" extrusionOk="0">
                    <a:moveTo>
                      <a:pt x="2790156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694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988" y="-13776"/>
                      <a:pt x="69105" y="8322"/>
                    </a:cubicBezTo>
                    <a:lnTo>
                      <a:pt x="2790156" y="1582995"/>
                    </a:lnTo>
                    <a:cubicBezTo>
                      <a:pt x="2828178" y="1604998"/>
                      <a:pt x="2859261" y="1664243"/>
                      <a:pt x="2859261" y="1715297"/>
                    </a:cubicBezTo>
                    <a:lnTo>
                      <a:pt x="2859261" y="3823847"/>
                    </a:lnTo>
                    <a:cubicBezTo>
                      <a:pt x="2859261" y="3874900"/>
                      <a:pt x="2828273" y="3898332"/>
                      <a:pt x="2790156" y="38762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44;p15"/>
              <p:cNvSpPr/>
              <p:nvPr/>
            </p:nvSpPr>
            <p:spPr>
              <a:xfrm>
                <a:off x="5568443" y="1110406"/>
                <a:ext cx="2788159" cy="3702480"/>
              </a:xfrm>
              <a:custGeom>
                <a:avLst/>
                <a:gdLst/>
                <a:ahLst/>
                <a:cxnLst/>
                <a:rect l="l" t="t" r="r" b="b"/>
                <a:pathLst>
                  <a:path w="2788159" h="3702480" extrusionOk="0">
                    <a:moveTo>
                      <a:pt x="2786734" y="3702481"/>
                    </a:moveTo>
                    <a:lnTo>
                      <a:pt x="0" y="2089993"/>
                    </a:lnTo>
                    <a:lnTo>
                      <a:pt x="951" y="23640"/>
                    </a:lnTo>
                    <a:cubicBezTo>
                      <a:pt x="951" y="2494"/>
                      <a:pt x="15779" y="-6078"/>
                      <a:pt x="34030" y="4590"/>
                    </a:cubicBezTo>
                    <a:lnTo>
                      <a:pt x="2755080" y="1578691"/>
                    </a:lnTo>
                    <a:cubicBezTo>
                      <a:pt x="2774529" y="1591407"/>
                      <a:pt x="2786800" y="1612610"/>
                      <a:pt x="2788160" y="16358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45;p15"/>
              <p:cNvSpPr/>
              <p:nvPr/>
            </p:nvSpPr>
            <p:spPr>
              <a:xfrm>
                <a:off x="5762166" y="1403396"/>
                <a:ext cx="919754" cy="618313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13" extrusionOk="0">
                    <a:moveTo>
                      <a:pt x="906256" y="616665"/>
                    </a:moveTo>
                    <a:lnTo>
                      <a:pt x="13498" y="100220"/>
                    </a:lnTo>
                    <a:cubicBezTo>
                      <a:pt x="5142" y="94185"/>
                      <a:pt x="133" y="84538"/>
                      <a:pt x="0" y="74217"/>
                    </a:cubicBezTo>
                    <a:lnTo>
                      <a:pt x="0" y="11828"/>
                    </a:lnTo>
                    <a:cubicBezTo>
                      <a:pt x="0" y="2303"/>
                      <a:pt x="5988" y="-2745"/>
                      <a:pt x="13498" y="1541"/>
                    </a:cubicBezTo>
                    <a:lnTo>
                      <a:pt x="906256" y="517986"/>
                    </a:lnTo>
                    <a:cubicBezTo>
                      <a:pt x="914574" y="524052"/>
                      <a:pt x="919574" y="533680"/>
                      <a:pt x="919754" y="543990"/>
                    </a:cubicBezTo>
                    <a:lnTo>
                      <a:pt x="919754" y="606378"/>
                    </a:lnTo>
                    <a:cubicBezTo>
                      <a:pt x="919754" y="616380"/>
                      <a:pt x="913671" y="621047"/>
                      <a:pt x="906256" y="61666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15"/>
              <p:cNvSpPr/>
              <p:nvPr/>
            </p:nvSpPr>
            <p:spPr>
              <a:xfrm>
                <a:off x="5766158" y="1584712"/>
                <a:ext cx="686298" cy="451951"/>
              </a:xfrm>
              <a:custGeom>
                <a:avLst/>
                <a:gdLst/>
                <a:ahLst/>
                <a:cxnLst/>
                <a:rect l="l" t="t" r="r" b="b"/>
                <a:pathLst>
                  <a:path w="686298" h="451951" extrusionOk="0">
                    <a:moveTo>
                      <a:pt x="672991" y="450304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057"/>
                    </a:lnTo>
                    <a:cubicBezTo>
                      <a:pt x="681261" y="389103"/>
                      <a:pt x="686194" y="398708"/>
                      <a:pt x="686299" y="408965"/>
                    </a:cubicBezTo>
                    <a:lnTo>
                      <a:pt x="686299" y="440017"/>
                    </a:lnTo>
                    <a:cubicBezTo>
                      <a:pt x="686299" y="450018"/>
                      <a:pt x="680405" y="454685"/>
                      <a:pt x="672991" y="45030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15"/>
              <p:cNvSpPr/>
              <p:nvPr/>
            </p:nvSpPr>
            <p:spPr>
              <a:xfrm>
                <a:off x="5766158" y="1702632"/>
                <a:ext cx="686488" cy="45175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759" extrusionOk="0">
                    <a:moveTo>
                      <a:pt x="672991" y="450018"/>
                    </a:moveTo>
                    <a:lnTo>
                      <a:pt x="13593" y="69018"/>
                    </a:lnTo>
                    <a:cubicBezTo>
                      <a:pt x="5199" y="63044"/>
                      <a:pt x="152" y="53422"/>
                      <a:pt x="0" y="43110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343"/>
                    </a:lnTo>
                    <a:cubicBezTo>
                      <a:pt x="681337" y="389344"/>
                      <a:pt x="686337" y="398964"/>
                      <a:pt x="686489" y="409251"/>
                    </a:cubicBezTo>
                    <a:lnTo>
                      <a:pt x="686489" y="440302"/>
                    </a:lnTo>
                    <a:cubicBezTo>
                      <a:pt x="686299" y="450018"/>
                      <a:pt x="680405" y="454495"/>
                      <a:pt x="672991" y="45001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48;p15"/>
              <p:cNvSpPr/>
              <p:nvPr/>
            </p:nvSpPr>
            <p:spPr>
              <a:xfrm>
                <a:off x="5766158" y="1820170"/>
                <a:ext cx="562156" cy="379997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97" extrusionOk="0">
                    <a:moveTo>
                      <a:pt x="548564" y="378390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548564" y="311048"/>
                    </a:lnTo>
                    <a:cubicBezTo>
                      <a:pt x="556948" y="317077"/>
                      <a:pt x="561985" y="326717"/>
                      <a:pt x="562157" y="337051"/>
                    </a:cubicBezTo>
                    <a:lnTo>
                      <a:pt x="562157" y="368103"/>
                    </a:lnTo>
                    <a:cubicBezTo>
                      <a:pt x="562157" y="378104"/>
                      <a:pt x="556073" y="382676"/>
                      <a:pt x="548564" y="3783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15"/>
              <p:cNvSpPr/>
              <p:nvPr/>
            </p:nvSpPr>
            <p:spPr>
              <a:xfrm>
                <a:off x="5762166" y="2639293"/>
                <a:ext cx="919754" cy="618340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40" extrusionOk="0">
                    <a:moveTo>
                      <a:pt x="906256" y="616732"/>
                    </a:moveTo>
                    <a:lnTo>
                      <a:pt x="13498" y="100287"/>
                    </a:lnTo>
                    <a:cubicBezTo>
                      <a:pt x="5142" y="94248"/>
                      <a:pt x="133" y="84609"/>
                      <a:pt x="0" y="74284"/>
                    </a:cubicBezTo>
                    <a:lnTo>
                      <a:pt x="0" y="11895"/>
                    </a:lnTo>
                    <a:cubicBezTo>
                      <a:pt x="0" y="1894"/>
                      <a:pt x="5988" y="-2678"/>
                      <a:pt x="13498" y="1608"/>
                    </a:cubicBezTo>
                    <a:lnTo>
                      <a:pt x="906256" y="518053"/>
                    </a:lnTo>
                    <a:cubicBezTo>
                      <a:pt x="914574" y="524121"/>
                      <a:pt x="919574" y="533751"/>
                      <a:pt x="919754" y="544057"/>
                    </a:cubicBezTo>
                    <a:lnTo>
                      <a:pt x="919754" y="606445"/>
                    </a:lnTo>
                    <a:cubicBezTo>
                      <a:pt x="919754" y="616447"/>
                      <a:pt x="913671" y="621019"/>
                      <a:pt x="906256" y="61673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15"/>
              <p:cNvSpPr/>
              <p:nvPr/>
            </p:nvSpPr>
            <p:spPr>
              <a:xfrm>
                <a:off x="5766158" y="2821069"/>
                <a:ext cx="686488" cy="45151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519" extrusionOk="0">
                    <a:moveTo>
                      <a:pt x="672991" y="449910"/>
                    </a:moveTo>
                    <a:lnTo>
                      <a:pt x="13593" y="68910"/>
                    </a:lnTo>
                    <a:cubicBezTo>
                      <a:pt x="5209" y="62881"/>
                      <a:pt x="171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672991" y="382664"/>
                    </a:lnTo>
                    <a:cubicBezTo>
                      <a:pt x="681308" y="388731"/>
                      <a:pt x="686308" y="398361"/>
                      <a:pt x="686489" y="408667"/>
                    </a:cubicBezTo>
                    <a:lnTo>
                      <a:pt x="686489" y="439719"/>
                    </a:lnTo>
                    <a:cubicBezTo>
                      <a:pt x="686299" y="449625"/>
                      <a:pt x="680405" y="454197"/>
                      <a:pt x="672991" y="44991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51;p15"/>
              <p:cNvSpPr/>
              <p:nvPr/>
            </p:nvSpPr>
            <p:spPr>
              <a:xfrm>
                <a:off x="5766158" y="2938486"/>
                <a:ext cx="686488" cy="451826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826" extrusionOk="0">
                    <a:moveTo>
                      <a:pt x="672991" y="450223"/>
                    </a:moveTo>
                    <a:lnTo>
                      <a:pt x="13593" y="68747"/>
                    </a:lnTo>
                    <a:cubicBezTo>
                      <a:pt x="5228" y="62756"/>
                      <a:pt x="190" y="53145"/>
                      <a:pt x="0" y="42839"/>
                    </a:cubicBezTo>
                    <a:lnTo>
                      <a:pt x="0" y="11787"/>
                    </a:lnTo>
                    <a:cubicBezTo>
                      <a:pt x="0" y="2262"/>
                      <a:pt x="6084" y="-2786"/>
                      <a:pt x="13593" y="1595"/>
                    </a:cubicBezTo>
                    <a:lnTo>
                      <a:pt x="672991" y="382595"/>
                    </a:lnTo>
                    <a:cubicBezTo>
                      <a:pt x="681308" y="388663"/>
                      <a:pt x="686308" y="398293"/>
                      <a:pt x="686489" y="408599"/>
                    </a:cubicBezTo>
                    <a:lnTo>
                      <a:pt x="686489" y="439650"/>
                    </a:lnTo>
                    <a:cubicBezTo>
                      <a:pt x="686299" y="449937"/>
                      <a:pt x="680405" y="454509"/>
                      <a:pt x="672991" y="45022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15"/>
              <p:cNvSpPr/>
              <p:nvPr/>
            </p:nvSpPr>
            <p:spPr>
              <a:xfrm>
                <a:off x="5766158" y="3056051"/>
                <a:ext cx="562156" cy="379920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20" extrusionOk="0">
                    <a:moveTo>
                      <a:pt x="548564" y="378378"/>
                    </a:moveTo>
                    <a:lnTo>
                      <a:pt x="13593" y="68910"/>
                    </a:lnTo>
                    <a:cubicBezTo>
                      <a:pt x="5199" y="62900"/>
                      <a:pt x="152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548564" y="311131"/>
                    </a:lnTo>
                    <a:cubicBezTo>
                      <a:pt x="556948" y="317161"/>
                      <a:pt x="561985" y="326800"/>
                      <a:pt x="562157" y="337134"/>
                    </a:cubicBezTo>
                    <a:lnTo>
                      <a:pt x="562157" y="368186"/>
                    </a:lnTo>
                    <a:cubicBezTo>
                      <a:pt x="562157" y="378187"/>
                      <a:pt x="556073" y="382473"/>
                      <a:pt x="548564" y="378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53;p15"/>
              <p:cNvSpPr/>
              <p:nvPr/>
            </p:nvSpPr>
            <p:spPr>
              <a:xfrm>
                <a:off x="6897600" y="3332192"/>
                <a:ext cx="1250451" cy="1162368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62368" extrusionOk="0">
                    <a:moveTo>
                      <a:pt x="9696" y="77186"/>
                    </a:moveTo>
                    <a:cubicBezTo>
                      <a:pt x="9696" y="77186"/>
                      <a:pt x="108173" y="160053"/>
                      <a:pt x="250376" y="46896"/>
                    </a:cubicBezTo>
                    <a:cubicBezTo>
                      <a:pt x="351895" y="-36543"/>
                      <a:pt x="442672" y="11082"/>
                      <a:pt x="493242" y="39657"/>
                    </a:cubicBezTo>
                    <a:cubicBezTo>
                      <a:pt x="543811" y="68232"/>
                      <a:pt x="616813" y="85758"/>
                      <a:pt x="755879" y="337409"/>
                    </a:cubicBezTo>
                    <a:cubicBezTo>
                      <a:pt x="755879" y="337409"/>
                      <a:pt x="801125" y="416276"/>
                      <a:pt x="875839" y="459519"/>
                    </a:cubicBezTo>
                    <a:cubicBezTo>
                      <a:pt x="950552" y="502763"/>
                      <a:pt x="986483" y="481617"/>
                      <a:pt x="1045227" y="392844"/>
                    </a:cubicBezTo>
                    <a:cubicBezTo>
                      <a:pt x="1103971" y="304071"/>
                      <a:pt x="1142469" y="205773"/>
                      <a:pt x="1250452" y="269972"/>
                    </a:cubicBezTo>
                    <a:lnTo>
                      <a:pt x="1250452" y="1162369"/>
                    </a:lnTo>
                    <a:lnTo>
                      <a:pt x="0" y="439707"/>
                    </a:lnTo>
                    <a:lnTo>
                      <a:pt x="0" y="71375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54;p15"/>
              <p:cNvSpPr/>
              <p:nvPr/>
            </p:nvSpPr>
            <p:spPr>
              <a:xfrm>
                <a:off x="5766443" y="2003281"/>
                <a:ext cx="882682" cy="1029375"/>
              </a:xfrm>
              <a:custGeom>
                <a:avLst/>
                <a:gdLst/>
                <a:ahLst/>
                <a:cxnLst/>
                <a:rect l="l" t="t" r="r" b="b"/>
                <a:pathLst>
                  <a:path w="882682" h="1029375" extrusionOk="0">
                    <a:moveTo>
                      <a:pt x="869090" y="1027764"/>
                    </a:moveTo>
                    <a:lnTo>
                      <a:pt x="13593" y="532464"/>
                    </a:lnTo>
                    <a:cubicBezTo>
                      <a:pt x="5209" y="526435"/>
                      <a:pt x="171" y="516796"/>
                      <a:pt x="0" y="506461"/>
                    </a:cubicBezTo>
                    <a:lnTo>
                      <a:pt x="0" y="11828"/>
                    </a:lnTo>
                    <a:cubicBezTo>
                      <a:pt x="0" y="2303"/>
                      <a:pt x="6084" y="-2745"/>
                      <a:pt x="13593" y="1541"/>
                    </a:cubicBezTo>
                    <a:lnTo>
                      <a:pt x="869090" y="496841"/>
                    </a:lnTo>
                    <a:cubicBezTo>
                      <a:pt x="877474" y="502870"/>
                      <a:pt x="882512" y="512510"/>
                      <a:pt x="882683" y="522844"/>
                    </a:cubicBezTo>
                    <a:lnTo>
                      <a:pt x="882683" y="1017668"/>
                    </a:lnTo>
                    <a:cubicBezTo>
                      <a:pt x="882683" y="1027479"/>
                      <a:pt x="876599" y="1032051"/>
                      <a:pt x="869090" y="102776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55;p15"/>
              <p:cNvSpPr/>
              <p:nvPr/>
            </p:nvSpPr>
            <p:spPr>
              <a:xfrm>
                <a:off x="6897600" y="3388613"/>
                <a:ext cx="1250451" cy="1106424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06424" extrusionOk="0">
                    <a:moveTo>
                      <a:pt x="0" y="0"/>
                    </a:moveTo>
                    <a:lnTo>
                      <a:pt x="0" y="383096"/>
                    </a:lnTo>
                    <a:lnTo>
                      <a:pt x="1250452" y="1106424"/>
                    </a:lnTo>
                    <a:lnTo>
                      <a:pt x="1250452" y="214027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15"/>
              <p:cNvSpPr/>
              <p:nvPr/>
            </p:nvSpPr>
            <p:spPr>
              <a:xfrm>
                <a:off x="7389036" y="3376326"/>
                <a:ext cx="9505" cy="678751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678751" extrusionOk="0">
                    <a:moveTo>
                      <a:pt x="0" y="0"/>
                    </a:moveTo>
                    <a:lnTo>
                      <a:pt x="0" y="678752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57;p15"/>
              <p:cNvSpPr/>
              <p:nvPr/>
            </p:nvSpPr>
            <p:spPr>
              <a:xfrm>
                <a:off x="7771633" y="3805618"/>
                <a:ext cx="9505" cy="470725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470725" extrusionOk="0">
                    <a:moveTo>
                      <a:pt x="0" y="0"/>
                    </a:moveTo>
                    <a:lnTo>
                      <a:pt x="0" y="470725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15"/>
              <p:cNvSpPr/>
              <p:nvPr/>
            </p:nvSpPr>
            <p:spPr>
              <a:xfrm>
                <a:off x="6897600" y="3332663"/>
                <a:ext cx="1250451" cy="479359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479359" extrusionOk="0">
                    <a:moveTo>
                      <a:pt x="0" y="70905"/>
                    </a:moveTo>
                    <a:cubicBezTo>
                      <a:pt x="221859" y="208732"/>
                      <a:pt x="253227" y="-102831"/>
                      <a:pt x="494953" y="36996"/>
                    </a:cubicBezTo>
                    <a:cubicBezTo>
                      <a:pt x="736678" y="176823"/>
                      <a:pt x="703314" y="359036"/>
                      <a:pt x="881732" y="462288"/>
                    </a:cubicBezTo>
                    <a:cubicBezTo>
                      <a:pt x="1060151" y="565538"/>
                      <a:pt x="1064333" y="162250"/>
                      <a:pt x="1250452" y="269978"/>
                    </a:cubicBezTo>
                  </a:path>
                </a:pathLst>
              </a:custGeom>
              <a:noFill/>
              <a:ln w="14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15"/>
              <p:cNvSpPr/>
              <p:nvPr/>
            </p:nvSpPr>
            <p:spPr>
              <a:xfrm rot="-1801764">
                <a:off x="7364922" y="3334621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60;p15"/>
              <p:cNvSpPr/>
              <p:nvPr/>
            </p:nvSpPr>
            <p:spPr>
              <a:xfrm rot="-1790023">
                <a:off x="8141346" y="3571007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4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4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61;p15"/>
              <p:cNvSpPr/>
              <p:nvPr/>
            </p:nvSpPr>
            <p:spPr>
              <a:xfrm rot="-1790023">
                <a:off x="7763340" y="3766404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3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3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62;p15"/>
              <p:cNvSpPr/>
              <p:nvPr/>
            </p:nvSpPr>
            <p:spPr>
              <a:xfrm rot="-1801764">
                <a:off x="6873548" y="3361832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p15"/>
              <p:cNvSpPr/>
              <p:nvPr/>
            </p:nvSpPr>
            <p:spPr>
              <a:xfrm>
                <a:off x="6868038" y="2430219"/>
                <a:ext cx="78705" cy="316778"/>
              </a:xfrm>
              <a:custGeom>
                <a:avLst/>
                <a:gdLst/>
                <a:ahLst/>
                <a:cxnLst/>
                <a:rect l="l" t="t" r="r" b="b"/>
                <a:pathLst>
                  <a:path w="78705" h="316778" extrusionOk="0">
                    <a:moveTo>
                      <a:pt x="64828" y="315171"/>
                    </a:moveTo>
                    <a:lnTo>
                      <a:pt x="13593" y="285548"/>
                    </a:lnTo>
                    <a:cubicBezTo>
                      <a:pt x="5209" y="279519"/>
                      <a:pt x="171" y="269880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193" y="37136"/>
                      <a:pt x="78335" y="46566"/>
                      <a:pt x="78706" y="56758"/>
                    </a:cubicBezTo>
                    <a:lnTo>
                      <a:pt x="78706" y="304884"/>
                    </a:lnTo>
                    <a:cubicBezTo>
                      <a:pt x="78706" y="314885"/>
                      <a:pt x="72337" y="319457"/>
                      <a:pt x="64828" y="3151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64;p15"/>
              <p:cNvSpPr/>
              <p:nvPr/>
            </p:nvSpPr>
            <p:spPr>
              <a:xfrm>
                <a:off x="6986477" y="2241366"/>
                <a:ext cx="78420" cy="57392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73928" extrusionOk="0">
                    <a:moveTo>
                      <a:pt x="64828" y="572319"/>
                    </a:moveTo>
                    <a:lnTo>
                      <a:pt x="13593" y="542601"/>
                    </a:lnTo>
                    <a:cubicBezTo>
                      <a:pt x="5199" y="536629"/>
                      <a:pt x="152" y="527009"/>
                      <a:pt x="0" y="516693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4828" y="31299"/>
                    </a:lnTo>
                    <a:cubicBezTo>
                      <a:pt x="73211" y="37328"/>
                      <a:pt x="78249" y="46967"/>
                      <a:pt x="78421" y="57302"/>
                    </a:cubicBezTo>
                    <a:lnTo>
                      <a:pt x="78421" y="562127"/>
                    </a:lnTo>
                    <a:cubicBezTo>
                      <a:pt x="78041" y="572033"/>
                      <a:pt x="71957" y="576605"/>
                      <a:pt x="64828" y="5723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15"/>
              <p:cNvSpPr/>
              <p:nvPr/>
            </p:nvSpPr>
            <p:spPr>
              <a:xfrm>
                <a:off x="7222119" y="2426981"/>
                <a:ext cx="78420" cy="524860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24860" extrusionOk="0">
                    <a:moveTo>
                      <a:pt x="64828" y="523197"/>
                    </a:moveTo>
                    <a:lnTo>
                      <a:pt x="13593" y="493574"/>
                    </a:lnTo>
                    <a:cubicBezTo>
                      <a:pt x="5181" y="487583"/>
                      <a:pt x="124" y="477915"/>
                      <a:pt x="0" y="467571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231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513005"/>
                    </a:lnTo>
                    <a:cubicBezTo>
                      <a:pt x="78421" y="523006"/>
                      <a:pt x="72337" y="527578"/>
                      <a:pt x="64828" y="52319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15"/>
              <p:cNvSpPr/>
              <p:nvPr/>
            </p:nvSpPr>
            <p:spPr>
              <a:xfrm>
                <a:off x="7340177" y="2573447"/>
                <a:ext cx="78420" cy="446687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446687" extrusionOk="0">
                    <a:moveTo>
                      <a:pt x="64827" y="445025"/>
                    </a:moveTo>
                    <a:lnTo>
                      <a:pt x="13593" y="415402"/>
                    </a:lnTo>
                    <a:cubicBezTo>
                      <a:pt x="5209" y="409373"/>
                      <a:pt x="171" y="399734"/>
                      <a:pt x="0" y="389399"/>
                    </a:cubicBezTo>
                    <a:lnTo>
                      <a:pt x="0" y="11828"/>
                    </a:lnTo>
                    <a:cubicBezTo>
                      <a:pt x="0" y="2303"/>
                      <a:pt x="6083" y="-2745"/>
                      <a:pt x="13593" y="1541"/>
                    </a:cubicBezTo>
                    <a:lnTo>
                      <a:pt x="64827" y="31259"/>
                    </a:lnTo>
                    <a:cubicBezTo>
                      <a:pt x="73221" y="37231"/>
                      <a:pt x="78268" y="46851"/>
                      <a:pt x="78421" y="57167"/>
                    </a:cubicBezTo>
                    <a:lnTo>
                      <a:pt x="78421" y="434738"/>
                    </a:lnTo>
                    <a:cubicBezTo>
                      <a:pt x="78421" y="444835"/>
                      <a:pt x="72337" y="449406"/>
                      <a:pt x="64827" y="44502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67;p15"/>
              <p:cNvSpPr/>
              <p:nvPr/>
            </p:nvSpPr>
            <p:spPr>
              <a:xfrm>
                <a:off x="7575249" y="2900319"/>
                <a:ext cx="78325" cy="255777"/>
              </a:xfrm>
              <a:custGeom>
                <a:avLst/>
                <a:gdLst/>
                <a:ahLst/>
                <a:cxnLst/>
                <a:rect l="l" t="t" r="r" b="b"/>
                <a:pathLst>
                  <a:path w="78325" h="255777" extrusionOk="0">
                    <a:moveTo>
                      <a:pt x="64828" y="254170"/>
                    </a:moveTo>
                    <a:lnTo>
                      <a:pt x="13498" y="224547"/>
                    </a:lnTo>
                    <a:cubicBezTo>
                      <a:pt x="5143" y="218508"/>
                      <a:pt x="133" y="208869"/>
                      <a:pt x="0" y="198544"/>
                    </a:cubicBezTo>
                    <a:lnTo>
                      <a:pt x="0" y="11949"/>
                    </a:lnTo>
                    <a:cubicBezTo>
                      <a:pt x="0" y="1853"/>
                      <a:pt x="5989" y="-2719"/>
                      <a:pt x="13498" y="1662"/>
                    </a:cubicBezTo>
                    <a:lnTo>
                      <a:pt x="64828" y="31285"/>
                    </a:lnTo>
                    <a:cubicBezTo>
                      <a:pt x="73145" y="37352"/>
                      <a:pt x="78145" y="46982"/>
                      <a:pt x="78325" y="57288"/>
                    </a:cubicBezTo>
                    <a:lnTo>
                      <a:pt x="78325" y="243883"/>
                    </a:lnTo>
                    <a:cubicBezTo>
                      <a:pt x="78325" y="253884"/>
                      <a:pt x="72242" y="258456"/>
                      <a:pt x="64828" y="2541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p15"/>
              <p:cNvSpPr/>
              <p:nvPr/>
            </p:nvSpPr>
            <p:spPr>
              <a:xfrm>
                <a:off x="7693593" y="2520557"/>
                <a:ext cx="78420" cy="70383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703833" extrusionOk="0">
                    <a:moveTo>
                      <a:pt x="64447" y="702226"/>
                    </a:moveTo>
                    <a:lnTo>
                      <a:pt x="13593" y="672508"/>
                    </a:lnTo>
                    <a:cubicBezTo>
                      <a:pt x="5199" y="666536"/>
                      <a:pt x="152" y="656916"/>
                      <a:pt x="0" y="646600"/>
                    </a:cubicBezTo>
                    <a:lnTo>
                      <a:pt x="0" y="11949"/>
                    </a:lnTo>
                    <a:cubicBezTo>
                      <a:pt x="0" y="1853"/>
                      <a:pt x="6083" y="-2719"/>
                      <a:pt x="13593" y="1662"/>
                    </a:cubicBezTo>
                    <a:lnTo>
                      <a:pt x="64828" y="31285"/>
                    </a:lnTo>
                    <a:cubicBezTo>
                      <a:pt x="73221" y="37305"/>
                      <a:pt x="78268" y="46954"/>
                      <a:pt x="78421" y="57288"/>
                    </a:cubicBezTo>
                    <a:lnTo>
                      <a:pt x="78421" y="691939"/>
                    </a:lnTo>
                    <a:cubicBezTo>
                      <a:pt x="78040" y="701940"/>
                      <a:pt x="71957" y="706512"/>
                      <a:pt x="64447" y="702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69;p15"/>
              <p:cNvSpPr/>
              <p:nvPr/>
            </p:nvSpPr>
            <p:spPr>
              <a:xfrm>
                <a:off x="7981135" y="3135165"/>
                <a:ext cx="78420" cy="25581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255818" extrusionOk="0">
                    <a:moveTo>
                      <a:pt x="64828" y="254211"/>
                    </a:moveTo>
                    <a:lnTo>
                      <a:pt x="13593" y="224493"/>
                    </a:lnTo>
                    <a:cubicBezTo>
                      <a:pt x="5199" y="218521"/>
                      <a:pt x="152" y="208900"/>
                      <a:pt x="0" y="19858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240" y="37317"/>
                      <a:pt x="78297" y="46985"/>
                      <a:pt x="78421" y="57329"/>
                    </a:cubicBezTo>
                    <a:lnTo>
                      <a:pt x="78421" y="243924"/>
                    </a:lnTo>
                    <a:cubicBezTo>
                      <a:pt x="78421" y="253925"/>
                      <a:pt x="72337" y="258497"/>
                      <a:pt x="64828" y="25421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70;p15"/>
              <p:cNvSpPr/>
              <p:nvPr/>
            </p:nvSpPr>
            <p:spPr>
              <a:xfrm>
                <a:off x="8099193" y="3142308"/>
                <a:ext cx="78420" cy="31696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316963" extrusionOk="0">
                    <a:moveTo>
                      <a:pt x="64828" y="315266"/>
                    </a:moveTo>
                    <a:lnTo>
                      <a:pt x="13593" y="285548"/>
                    </a:lnTo>
                    <a:cubicBezTo>
                      <a:pt x="5181" y="279557"/>
                      <a:pt x="124" y="269889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4" y="-2678"/>
                      <a:pt x="13593" y="1608"/>
                    </a:cubicBezTo>
                    <a:lnTo>
                      <a:pt x="64828" y="31230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305360"/>
                    </a:lnTo>
                    <a:cubicBezTo>
                      <a:pt x="78421" y="315266"/>
                      <a:pt x="72337" y="319648"/>
                      <a:pt x="64828" y="315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71" name="Google Shape;471;p15"/>
            <p:cNvSpPr/>
            <p:nvPr/>
          </p:nvSpPr>
          <p:spPr>
            <a:xfrm>
              <a:off x="2810939" y="4355647"/>
              <a:ext cx="905825" cy="524291"/>
            </a:xfrm>
            <a:custGeom>
              <a:avLst/>
              <a:gdLst/>
              <a:ahLst/>
              <a:cxnLst/>
              <a:rect l="l" t="t" r="r" b="b"/>
              <a:pathLst>
                <a:path w="905825" h="524291" extrusionOk="0">
                  <a:moveTo>
                    <a:pt x="456810" y="505052"/>
                  </a:moveTo>
                  <a:lnTo>
                    <a:pt x="32483" y="259879"/>
                  </a:lnTo>
                  <a:cubicBezTo>
                    <a:pt x="-15615" y="231970"/>
                    <a:pt x="-9626" y="183679"/>
                    <a:pt x="45981" y="151294"/>
                  </a:cubicBezTo>
                  <a:lnTo>
                    <a:pt x="261376" y="26611"/>
                  </a:lnTo>
                  <a:cubicBezTo>
                    <a:pt x="316889" y="-5488"/>
                    <a:pt x="400632" y="-9298"/>
                    <a:pt x="449015" y="19277"/>
                  </a:cubicBezTo>
                  <a:lnTo>
                    <a:pt x="873342" y="264832"/>
                  </a:lnTo>
                  <a:cubicBezTo>
                    <a:pt x="921440" y="292645"/>
                    <a:pt x="915451" y="341032"/>
                    <a:pt x="859844" y="373322"/>
                  </a:cubicBezTo>
                  <a:lnTo>
                    <a:pt x="644449" y="498004"/>
                  </a:lnTo>
                  <a:cubicBezTo>
                    <a:pt x="588937" y="529627"/>
                    <a:pt x="505193" y="533627"/>
                    <a:pt x="456810" y="505052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Google Shape;472;p15"/>
            <p:cNvSpPr/>
            <p:nvPr/>
          </p:nvSpPr>
          <p:spPr>
            <a:xfrm>
              <a:off x="2999385" y="3858955"/>
              <a:ext cx="906089" cy="910207"/>
            </a:xfrm>
            <a:custGeom>
              <a:avLst/>
              <a:gdLst/>
              <a:ahLst/>
              <a:cxnLst/>
              <a:rect l="l" t="t" r="r" b="b"/>
              <a:pathLst>
                <a:path w="906089" h="910207" extrusionOk="0">
                  <a:moveTo>
                    <a:pt x="906089" y="695706"/>
                  </a:moveTo>
                  <a:lnTo>
                    <a:pt x="906089" y="102203"/>
                  </a:lnTo>
                  <a:lnTo>
                    <a:pt x="23" y="0"/>
                  </a:lnTo>
                  <a:lnTo>
                    <a:pt x="23" y="597218"/>
                  </a:lnTo>
                  <a:lnTo>
                    <a:pt x="23" y="597218"/>
                  </a:lnTo>
                  <a:cubicBezTo>
                    <a:pt x="-547" y="615506"/>
                    <a:pt x="9528" y="632936"/>
                    <a:pt x="32342" y="645891"/>
                  </a:cubicBezTo>
                  <a:lnTo>
                    <a:pt x="456668" y="891445"/>
                  </a:lnTo>
                  <a:cubicBezTo>
                    <a:pt x="504766" y="919258"/>
                    <a:pt x="588795" y="915734"/>
                    <a:pt x="644307" y="883634"/>
                  </a:cubicBezTo>
                  <a:lnTo>
                    <a:pt x="859702" y="758952"/>
                  </a:lnTo>
                  <a:cubicBezTo>
                    <a:pt x="890975" y="740855"/>
                    <a:pt x="906565" y="717518"/>
                    <a:pt x="905614" y="6957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5"/>
            <p:cNvSpPr/>
            <p:nvPr/>
          </p:nvSpPr>
          <p:spPr>
            <a:xfrm>
              <a:off x="2999385" y="3718383"/>
              <a:ext cx="905566" cy="524522"/>
            </a:xfrm>
            <a:custGeom>
              <a:avLst/>
              <a:gdLst/>
              <a:ahLst/>
              <a:cxnLst/>
              <a:rect l="l" t="t" r="r" b="b"/>
              <a:pathLst>
                <a:path w="905566" h="524522" extrusionOk="0">
                  <a:moveTo>
                    <a:pt x="905519" y="307545"/>
                  </a:moveTo>
                  <a:lnTo>
                    <a:pt x="905519" y="242775"/>
                  </a:lnTo>
                  <a:lnTo>
                    <a:pt x="835843" y="242775"/>
                  </a:lnTo>
                  <a:lnTo>
                    <a:pt x="448874" y="18842"/>
                  </a:lnTo>
                  <a:cubicBezTo>
                    <a:pt x="400776" y="-9066"/>
                    <a:pt x="316747" y="-5542"/>
                    <a:pt x="261235" y="26557"/>
                  </a:cubicBezTo>
                  <a:lnTo>
                    <a:pt x="45839" y="151716"/>
                  </a:lnTo>
                  <a:cubicBezTo>
                    <a:pt x="42009" y="153897"/>
                    <a:pt x="38296" y="156279"/>
                    <a:pt x="34718" y="158860"/>
                  </a:cubicBezTo>
                  <a:lnTo>
                    <a:pt x="23" y="141048"/>
                  </a:lnTo>
                  <a:cubicBezTo>
                    <a:pt x="23" y="141048"/>
                    <a:pt x="23" y="209533"/>
                    <a:pt x="23" y="211819"/>
                  </a:cubicBezTo>
                  <a:lnTo>
                    <a:pt x="23" y="211819"/>
                  </a:lnTo>
                  <a:cubicBezTo>
                    <a:pt x="-547" y="229916"/>
                    <a:pt x="9528" y="247347"/>
                    <a:pt x="32342" y="260301"/>
                  </a:cubicBezTo>
                  <a:lnTo>
                    <a:pt x="456668" y="505760"/>
                  </a:lnTo>
                  <a:cubicBezTo>
                    <a:pt x="504766" y="533573"/>
                    <a:pt x="588795" y="530049"/>
                    <a:pt x="644307" y="497950"/>
                  </a:cubicBezTo>
                  <a:lnTo>
                    <a:pt x="859702" y="373363"/>
                  </a:lnTo>
                  <a:cubicBezTo>
                    <a:pt x="891926" y="354313"/>
                    <a:pt x="907230" y="330500"/>
                    <a:pt x="905424" y="308021"/>
                  </a:cubicBezTo>
                  <a:close/>
                </a:path>
              </a:pathLst>
            </a:custGeom>
            <a:solidFill>
              <a:srgbClr val="EDF0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Google Shape;474;p15"/>
            <p:cNvSpPr/>
            <p:nvPr/>
          </p:nvSpPr>
          <p:spPr>
            <a:xfrm>
              <a:off x="2999243" y="3647851"/>
              <a:ext cx="905825" cy="524031"/>
            </a:xfrm>
            <a:custGeom>
              <a:avLst/>
              <a:gdLst/>
              <a:ahLst/>
              <a:cxnLst/>
              <a:rect l="l" t="t" r="r" b="b"/>
              <a:pathLst>
                <a:path w="905825" h="524031" extrusionOk="0">
                  <a:moveTo>
                    <a:pt x="456810" y="505236"/>
                  </a:moveTo>
                  <a:lnTo>
                    <a:pt x="32483" y="259777"/>
                  </a:lnTo>
                  <a:cubicBezTo>
                    <a:pt x="-15615" y="231964"/>
                    <a:pt x="-9626" y="183577"/>
                    <a:pt x="45981" y="151192"/>
                  </a:cubicBezTo>
                  <a:lnTo>
                    <a:pt x="261376" y="26605"/>
                  </a:lnTo>
                  <a:cubicBezTo>
                    <a:pt x="316889" y="-5589"/>
                    <a:pt x="400917" y="-9018"/>
                    <a:pt x="449015" y="18795"/>
                  </a:cubicBezTo>
                  <a:lnTo>
                    <a:pt x="873342" y="264254"/>
                  </a:lnTo>
                  <a:cubicBezTo>
                    <a:pt x="921440" y="292067"/>
                    <a:pt x="915451" y="340454"/>
                    <a:pt x="859844" y="372839"/>
                  </a:cubicBezTo>
                  <a:lnTo>
                    <a:pt x="644449" y="497426"/>
                  </a:lnTo>
                  <a:cubicBezTo>
                    <a:pt x="588937" y="529620"/>
                    <a:pt x="504908" y="533050"/>
                    <a:pt x="456810" y="505236"/>
                  </a:cubicBezTo>
                  <a:close/>
                </a:path>
              </a:pathLst>
            </a:custGeom>
            <a:solidFill>
              <a:srgbClr val="E2E5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Google Shape;475;p15"/>
            <p:cNvSpPr/>
            <p:nvPr/>
          </p:nvSpPr>
          <p:spPr>
            <a:xfrm>
              <a:off x="3230772" y="3780524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293" y="12575"/>
                    <a:pt x="13716" y="14395"/>
                    <a:pt x="11312" y="16424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p15"/>
            <p:cNvSpPr/>
            <p:nvPr/>
          </p:nvSpPr>
          <p:spPr>
            <a:xfrm>
              <a:off x="3230772" y="3756847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8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8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15"/>
            <p:cNvSpPr/>
            <p:nvPr/>
          </p:nvSpPr>
          <p:spPr>
            <a:xfrm>
              <a:off x="3393243" y="3872036"/>
              <a:ext cx="129623" cy="74995"/>
            </a:xfrm>
            <a:custGeom>
              <a:avLst/>
              <a:gdLst/>
              <a:ahLst/>
              <a:cxnLst/>
              <a:rect l="l" t="t" r="r" b="b"/>
              <a:pathLst>
                <a:path w="129623" h="74995" extrusionOk="0">
                  <a:moveTo>
                    <a:pt x="128018" y="45689"/>
                  </a:moveTo>
                  <a:cubicBezTo>
                    <a:pt x="124482" y="53623"/>
                    <a:pt x="118341" y="60110"/>
                    <a:pt x="110623" y="64072"/>
                  </a:cubicBezTo>
                  <a:cubicBezTo>
                    <a:pt x="81812" y="78636"/>
                    <a:pt x="47801" y="78636"/>
                    <a:pt x="18990" y="64072"/>
                  </a:cubicBezTo>
                  <a:cubicBezTo>
                    <a:pt x="11271" y="60110"/>
                    <a:pt x="5131" y="53623"/>
                    <a:pt x="1595" y="45689"/>
                  </a:cubicBezTo>
                  <a:cubicBezTo>
                    <a:pt x="-3158" y="33497"/>
                    <a:pt x="2735" y="20448"/>
                    <a:pt x="18990" y="10923"/>
                  </a:cubicBezTo>
                  <a:cubicBezTo>
                    <a:pt x="47801" y="-3641"/>
                    <a:pt x="81812" y="-3641"/>
                    <a:pt x="110623" y="10923"/>
                  </a:cubicBezTo>
                  <a:cubicBezTo>
                    <a:pt x="126972" y="19971"/>
                    <a:pt x="132771" y="33021"/>
                    <a:pt x="128018" y="456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Google Shape;478;p15"/>
            <p:cNvSpPr/>
            <p:nvPr/>
          </p:nvSpPr>
          <p:spPr>
            <a:xfrm>
              <a:off x="3395112" y="3888323"/>
              <a:ext cx="126148" cy="58707"/>
            </a:xfrm>
            <a:custGeom>
              <a:avLst/>
              <a:gdLst/>
              <a:ahLst/>
              <a:cxnLst/>
              <a:rect l="l" t="t" r="r" b="b"/>
              <a:pathLst>
                <a:path w="126148" h="58707" extrusionOk="0">
                  <a:moveTo>
                    <a:pt x="126149" y="29401"/>
                  </a:moveTo>
                  <a:cubicBezTo>
                    <a:pt x="122613" y="37336"/>
                    <a:pt x="116472" y="43822"/>
                    <a:pt x="108754" y="47784"/>
                  </a:cubicBezTo>
                  <a:cubicBezTo>
                    <a:pt x="79942" y="62348"/>
                    <a:pt x="45932" y="62348"/>
                    <a:pt x="17120" y="47784"/>
                  </a:cubicBezTo>
                  <a:cubicBezTo>
                    <a:pt x="6959" y="47051"/>
                    <a:pt x="-683" y="38202"/>
                    <a:pt x="48" y="28030"/>
                  </a:cubicBezTo>
                  <a:cubicBezTo>
                    <a:pt x="704" y="18867"/>
                    <a:pt x="7976" y="11580"/>
                    <a:pt x="17120" y="10923"/>
                  </a:cubicBezTo>
                  <a:cubicBezTo>
                    <a:pt x="45932" y="-3641"/>
                    <a:pt x="79942" y="-3641"/>
                    <a:pt x="108754" y="10923"/>
                  </a:cubicBezTo>
                  <a:cubicBezTo>
                    <a:pt x="116491" y="14904"/>
                    <a:pt x="122632" y="21429"/>
                    <a:pt x="126149" y="29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Google Shape;479;p15"/>
            <p:cNvSpPr/>
            <p:nvPr/>
          </p:nvSpPr>
          <p:spPr>
            <a:xfrm>
              <a:off x="3543979" y="3964737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321" y="12585"/>
                    <a:pt x="13745" y="14366"/>
                    <a:pt x="11312" y="16328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Google Shape;480;p15"/>
            <p:cNvSpPr/>
            <p:nvPr/>
          </p:nvSpPr>
          <p:spPr>
            <a:xfrm>
              <a:off x="3543979" y="3941061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9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9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Google Shape;481;p15"/>
            <p:cNvSpPr/>
            <p:nvPr/>
          </p:nvSpPr>
          <p:spPr>
            <a:xfrm>
              <a:off x="5673026" y="4464079"/>
              <a:ext cx="468241" cy="270891"/>
            </a:xfrm>
            <a:custGeom>
              <a:avLst/>
              <a:gdLst/>
              <a:ahLst/>
              <a:cxnLst/>
              <a:rect l="l" t="t" r="r" b="b"/>
              <a:pathLst>
                <a:path w="468241" h="270891" extrusionOk="0">
                  <a:moveTo>
                    <a:pt x="468242" y="135445"/>
                  </a:moveTo>
                  <a:cubicBezTo>
                    <a:pt x="468242" y="210250"/>
                    <a:pt x="363422" y="270891"/>
                    <a:pt x="234121" y="270891"/>
                  </a:cubicBezTo>
                  <a:cubicBezTo>
                    <a:pt x="104819" y="270891"/>
                    <a:pt x="0" y="210250"/>
                    <a:pt x="0" y="135445"/>
                  </a:cubicBezTo>
                  <a:cubicBezTo>
                    <a:pt x="0" y="60641"/>
                    <a:pt x="104819" y="0"/>
                    <a:pt x="234121" y="0"/>
                  </a:cubicBezTo>
                  <a:cubicBezTo>
                    <a:pt x="363422" y="0"/>
                    <a:pt x="468242" y="60641"/>
                    <a:pt x="468242" y="1354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Google Shape;482;p15"/>
            <p:cNvSpPr/>
            <p:nvPr/>
          </p:nvSpPr>
          <p:spPr>
            <a:xfrm>
              <a:off x="5819482" y="3280817"/>
              <a:ext cx="243195" cy="356577"/>
            </a:xfrm>
            <a:custGeom>
              <a:avLst/>
              <a:gdLst/>
              <a:ahLst/>
              <a:cxnLst/>
              <a:rect l="l" t="t" r="r" b="b"/>
              <a:pathLst>
                <a:path w="243195" h="356577" extrusionOk="0">
                  <a:moveTo>
                    <a:pt x="85669" y="11781"/>
                  </a:moveTo>
                  <a:cubicBezTo>
                    <a:pt x="95174" y="-3744"/>
                    <a:pt x="169318" y="-14031"/>
                    <a:pt x="193652" y="48738"/>
                  </a:cubicBezTo>
                  <a:cubicBezTo>
                    <a:pt x="203157" y="72551"/>
                    <a:pt x="201446" y="133416"/>
                    <a:pt x="209145" y="171611"/>
                  </a:cubicBezTo>
                  <a:cubicBezTo>
                    <a:pt x="216845" y="209806"/>
                    <a:pt x="235000" y="231523"/>
                    <a:pt x="241559" y="262479"/>
                  </a:cubicBezTo>
                  <a:cubicBezTo>
                    <a:pt x="248118" y="293436"/>
                    <a:pt x="237472" y="345442"/>
                    <a:pt x="162854" y="354681"/>
                  </a:cubicBezTo>
                  <a:cubicBezTo>
                    <a:pt x="88236" y="363921"/>
                    <a:pt x="30917" y="337632"/>
                    <a:pt x="13332" y="313819"/>
                  </a:cubicBezTo>
                  <a:cubicBezTo>
                    <a:pt x="-4253" y="290007"/>
                    <a:pt x="-4634" y="239334"/>
                    <a:pt x="13332" y="212092"/>
                  </a:cubicBezTo>
                  <a:cubicBezTo>
                    <a:pt x="31297" y="184851"/>
                    <a:pt x="45556" y="162848"/>
                    <a:pt x="45080" y="127415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15"/>
            <p:cNvSpPr/>
            <p:nvPr/>
          </p:nvSpPr>
          <p:spPr>
            <a:xfrm>
              <a:off x="5837923" y="3277536"/>
              <a:ext cx="116085" cy="143945"/>
            </a:xfrm>
            <a:custGeom>
              <a:avLst/>
              <a:gdLst/>
              <a:ahLst/>
              <a:cxnLst/>
              <a:rect l="l" t="t" r="r" b="b"/>
              <a:pathLst>
                <a:path w="116085" h="143945" extrusionOk="0">
                  <a:moveTo>
                    <a:pt x="116086" y="4300"/>
                  </a:moveTo>
                  <a:cubicBezTo>
                    <a:pt x="116086" y="4300"/>
                    <a:pt x="60383" y="-11798"/>
                    <a:pt x="26639" y="18301"/>
                  </a:cubicBezTo>
                  <a:cubicBezTo>
                    <a:pt x="3978" y="39285"/>
                    <a:pt x="-5176" y="71137"/>
                    <a:pt x="2875" y="100979"/>
                  </a:cubicBezTo>
                  <a:cubicBezTo>
                    <a:pt x="7343" y="118600"/>
                    <a:pt x="16373" y="142603"/>
                    <a:pt x="30346" y="143936"/>
                  </a:cubicBezTo>
                  <a:cubicBezTo>
                    <a:pt x="44319" y="145270"/>
                    <a:pt x="116086" y="4300"/>
                    <a:pt x="116086" y="4300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15"/>
            <p:cNvSpPr/>
            <p:nvPr/>
          </p:nvSpPr>
          <p:spPr>
            <a:xfrm>
              <a:off x="5860663" y="3433950"/>
              <a:ext cx="143677" cy="161015"/>
            </a:xfrm>
            <a:custGeom>
              <a:avLst/>
              <a:gdLst/>
              <a:ahLst/>
              <a:cxnLst/>
              <a:rect l="l" t="t" r="r" b="b"/>
              <a:pathLst>
                <a:path w="143677" h="161015" extrusionOk="0">
                  <a:moveTo>
                    <a:pt x="114638" y="0"/>
                  </a:moveTo>
                  <a:cubicBezTo>
                    <a:pt x="114638" y="0"/>
                    <a:pt x="110931" y="62103"/>
                    <a:pt x="112072" y="66675"/>
                  </a:cubicBezTo>
                  <a:cubicBezTo>
                    <a:pt x="113212" y="71247"/>
                    <a:pt x="136406" y="76200"/>
                    <a:pt x="142965" y="81153"/>
                  </a:cubicBezTo>
                  <a:cubicBezTo>
                    <a:pt x="149524" y="86106"/>
                    <a:pt x="109220" y="149638"/>
                    <a:pt x="88783" y="158972"/>
                  </a:cubicBezTo>
                  <a:cubicBezTo>
                    <a:pt x="68346" y="168307"/>
                    <a:pt x="4944" y="144399"/>
                    <a:pt x="477" y="112871"/>
                  </a:cubicBezTo>
                  <a:cubicBezTo>
                    <a:pt x="-3515" y="83725"/>
                    <a:pt x="18632" y="61151"/>
                    <a:pt x="27187" y="53245"/>
                  </a:cubicBezTo>
                  <a:cubicBezTo>
                    <a:pt x="32995" y="52692"/>
                    <a:pt x="38841" y="52531"/>
                    <a:pt x="44678" y="52769"/>
                  </a:cubicBezTo>
                  <a:lnTo>
                    <a:pt x="46579" y="22670"/>
                  </a:lnTo>
                  <a:cubicBezTo>
                    <a:pt x="74335" y="13811"/>
                    <a:pt x="114638" y="0"/>
                    <a:pt x="114638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15"/>
            <p:cNvSpPr/>
            <p:nvPr/>
          </p:nvSpPr>
          <p:spPr>
            <a:xfrm>
              <a:off x="5729287" y="3551002"/>
              <a:ext cx="121787" cy="284211"/>
            </a:xfrm>
            <a:custGeom>
              <a:avLst/>
              <a:gdLst/>
              <a:ahLst/>
              <a:cxnLst/>
              <a:rect l="l" t="t" r="r" b="b"/>
              <a:pathLst>
                <a:path w="121787" h="284211" extrusionOk="0">
                  <a:moveTo>
                    <a:pt x="96303" y="391"/>
                  </a:moveTo>
                  <a:cubicBezTo>
                    <a:pt x="96303" y="-1418"/>
                    <a:pt x="86797" y="3630"/>
                    <a:pt x="86797" y="3725"/>
                  </a:cubicBezTo>
                  <a:cubicBezTo>
                    <a:pt x="86797" y="3820"/>
                    <a:pt x="82330" y="163269"/>
                    <a:pt x="74535" y="177747"/>
                  </a:cubicBezTo>
                  <a:lnTo>
                    <a:pt x="74535" y="177747"/>
                  </a:lnTo>
                  <a:cubicBezTo>
                    <a:pt x="54669" y="211560"/>
                    <a:pt x="2103" y="268901"/>
                    <a:pt x="772" y="275283"/>
                  </a:cubicBezTo>
                  <a:cubicBezTo>
                    <a:pt x="-3125" y="294333"/>
                    <a:pt x="8092" y="277283"/>
                    <a:pt x="26152" y="275283"/>
                  </a:cubicBezTo>
                  <a:cubicBezTo>
                    <a:pt x="36323" y="274044"/>
                    <a:pt x="96113" y="213466"/>
                    <a:pt x="109516" y="199654"/>
                  </a:cubicBezTo>
                  <a:lnTo>
                    <a:pt x="110371" y="200131"/>
                  </a:lnTo>
                  <a:lnTo>
                    <a:pt x="110371" y="198607"/>
                  </a:lnTo>
                  <a:lnTo>
                    <a:pt x="112082" y="196797"/>
                  </a:lnTo>
                  <a:cubicBezTo>
                    <a:pt x="112424" y="192482"/>
                    <a:pt x="112424" y="188158"/>
                    <a:pt x="112082" y="183843"/>
                  </a:cubicBezTo>
                  <a:cubicBezTo>
                    <a:pt x="137272" y="10583"/>
                    <a:pt x="106664" y="-942"/>
                    <a:pt x="96303" y="39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15"/>
            <p:cNvSpPr/>
            <p:nvPr/>
          </p:nvSpPr>
          <p:spPr>
            <a:xfrm>
              <a:off x="5818929" y="3486611"/>
              <a:ext cx="209320" cy="241045"/>
            </a:xfrm>
            <a:custGeom>
              <a:avLst/>
              <a:gdLst/>
              <a:ahLst/>
              <a:cxnLst/>
              <a:rect l="l" t="t" r="r" b="b"/>
              <a:pathLst>
                <a:path w="209320" h="241045" extrusionOk="0">
                  <a:moveTo>
                    <a:pt x="164832" y="20110"/>
                  </a:moveTo>
                  <a:cubicBezTo>
                    <a:pt x="182322" y="22777"/>
                    <a:pt x="202189" y="32111"/>
                    <a:pt x="204945" y="41636"/>
                  </a:cubicBezTo>
                  <a:cubicBezTo>
                    <a:pt x="212141" y="76098"/>
                    <a:pt x="210439" y="111835"/>
                    <a:pt x="200002" y="145459"/>
                  </a:cubicBezTo>
                  <a:cubicBezTo>
                    <a:pt x="184889" y="185464"/>
                    <a:pt x="174718" y="210895"/>
                    <a:pt x="165973" y="228136"/>
                  </a:cubicBezTo>
                  <a:cubicBezTo>
                    <a:pt x="165973" y="228136"/>
                    <a:pt x="90594" y="260521"/>
                    <a:pt x="29758" y="222706"/>
                  </a:cubicBezTo>
                  <a:cubicBezTo>
                    <a:pt x="29758" y="222706"/>
                    <a:pt x="25576" y="179844"/>
                    <a:pt x="25291" y="156889"/>
                  </a:cubicBezTo>
                  <a:cubicBezTo>
                    <a:pt x="-30792" y="107835"/>
                    <a:pt x="17211" y="47351"/>
                    <a:pt x="64739" y="393"/>
                  </a:cubicBezTo>
                  <a:cubicBezTo>
                    <a:pt x="70433" y="-131"/>
                    <a:pt x="76155" y="-131"/>
                    <a:pt x="81849" y="393"/>
                  </a:cubicBezTo>
                  <a:cubicBezTo>
                    <a:pt x="81849" y="393"/>
                    <a:pt x="39454" y="50685"/>
                    <a:pt x="68921" y="79260"/>
                  </a:cubicBezTo>
                  <a:cubicBezTo>
                    <a:pt x="132133" y="59638"/>
                    <a:pt x="144680" y="31063"/>
                    <a:pt x="164832" y="2011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15"/>
            <p:cNvSpPr/>
            <p:nvPr/>
          </p:nvSpPr>
          <p:spPr>
            <a:xfrm>
              <a:off x="5856166" y="3289038"/>
              <a:ext cx="154042" cy="190250"/>
            </a:xfrm>
            <a:custGeom>
              <a:avLst/>
              <a:gdLst/>
              <a:ahLst/>
              <a:cxnLst/>
              <a:rect l="l" t="t" r="r" b="b"/>
              <a:pathLst>
                <a:path w="154042" h="190250" extrusionOk="0">
                  <a:moveTo>
                    <a:pt x="3263" y="67854"/>
                  </a:moveTo>
                  <a:lnTo>
                    <a:pt x="3263" y="67854"/>
                  </a:lnTo>
                  <a:cubicBezTo>
                    <a:pt x="9442" y="27945"/>
                    <a:pt x="38244" y="-2250"/>
                    <a:pt x="79308" y="132"/>
                  </a:cubicBezTo>
                  <a:cubicBezTo>
                    <a:pt x="122872" y="2484"/>
                    <a:pt x="156274" y="39784"/>
                    <a:pt x="153926" y="83437"/>
                  </a:cubicBezTo>
                  <a:cubicBezTo>
                    <a:pt x="152586" y="108288"/>
                    <a:pt x="139668" y="131053"/>
                    <a:pt x="119041" y="144912"/>
                  </a:cubicBezTo>
                  <a:cubicBezTo>
                    <a:pt x="117624" y="150960"/>
                    <a:pt x="115486" y="156808"/>
                    <a:pt x="112672" y="162342"/>
                  </a:cubicBezTo>
                  <a:cubicBezTo>
                    <a:pt x="98129" y="179297"/>
                    <a:pt x="59441" y="190060"/>
                    <a:pt x="46704" y="190251"/>
                  </a:cubicBezTo>
                  <a:cubicBezTo>
                    <a:pt x="35677" y="190251"/>
                    <a:pt x="26172" y="180059"/>
                    <a:pt x="15811" y="162914"/>
                  </a:cubicBezTo>
                  <a:cubicBezTo>
                    <a:pt x="-5672" y="127195"/>
                    <a:pt x="-158" y="87571"/>
                    <a:pt x="3263" y="67854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15"/>
            <p:cNvSpPr/>
            <p:nvPr/>
          </p:nvSpPr>
          <p:spPr>
            <a:xfrm>
              <a:off x="5862376" y="3287995"/>
              <a:ext cx="154704" cy="145954"/>
            </a:xfrm>
            <a:custGeom>
              <a:avLst/>
              <a:gdLst/>
              <a:ahLst/>
              <a:cxnLst/>
              <a:rect l="l" t="t" r="r" b="b"/>
              <a:pathLst>
                <a:path w="154704" h="145954" extrusionOk="0">
                  <a:moveTo>
                    <a:pt x="85930" y="1937"/>
                  </a:moveTo>
                  <a:cubicBezTo>
                    <a:pt x="114447" y="7557"/>
                    <a:pt x="138400" y="15748"/>
                    <a:pt x="146290" y="44038"/>
                  </a:cubicBezTo>
                  <a:cubicBezTo>
                    <a:pt x="151613" y="63659"/>
                    <a:pt x="158647" y="101188"/>
                    <a:pt x="151993" y="116523"/>
                  </a:cubicBezTo>
                  <a:lnTo>
                    <a:pt x="147811" y="127857"/>
                  </a:lnTo>
                  <a:lnTo>
                    <a:pt x="112926" y="145955"/>
                  </a:lnTo>
                  <a:cubicBezTo>
                    <a:pt x="112926" y="145955"/>
                    <a:pt x="96576" y="132334"/>
                    <a:pt x="101709" y="92424"/>
                  </a:cubicBezTo>
                  <a:cubicBezTo>
                    <a:pt x="101510" y="87043"/>
                    <a:pt x="99798" y="81823"/>
                    <a:pt x="96766" y="77375"/>
                  </a:cubicBezTo>
                  <a:cubicBezTo>
                    <a:pt x="94580" y="73594"/>
                    <a:pt x="92954" y="69517"/>
                    <a:pt x="91919" y="65278"/>
                  </a:cubicBezTo>
                  <a:cubicBezTo>
                    <a:pt x="87774" y="54496"/>
                    <a:pt x="79685" y="45704"/>
                    <a:pt x="69295" y="40704"/>
                  </a:cubicBezTo>
                  <a:cubicBezTo>
                    <a:pt x="43345" y="26130"/>
                    <a:pt x="5323" y="38704"/>
                    <a:pt x="0" y="44038"/>
                  </a:cubicBezTo>
                  <a:cubicBezTo>
                    <a:pt x="15142" y="11452"/>
                    <a:pt x="50959" y="-6102"/>
                    <a:pt x="85930" y="193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15"/>
            <p:cNvSpPr/>
            <p:nvPr/>
          </p:nvSpPr>
          <p:spPr>
            <a:xfrm>
              <a:off x="5888298" y="4552945"/>
              <a:ext cx="121626" cy="93085"/>
            </a:xfrm>
            <a:custGeom>
              <a:avLst/>
              <a:gdLst/>
              <a:ahLst/>
              <a:cxnLst/>
              <a:rect l="l" t="t" r="r" b="b"/>
              <a:pathLst>
                <a:path w="121626" h="93085" extrusionOk="0">
                  <a:moveTo>
                    <a:pt x="112478" y="2"/>
                  </a:moveTo>
                  <a:cubicBezTo>
                    <a:pt x="97840" y="11908"/>
                    <a:pt x="75121" y="3717"/>
                    <a:pt x="74456" y="4765"/>
                  </a:cubicBezTo>
                  <a:cubicBezTo>
                    <a:pt x="57422" y="19395"/>
                    <a:pt x="39590" y="33073"/>
                    <a:pt x="21035" y="45722"/>
                  </a:cubicBezTo>
                  <a:cubicBezTo>
                    <a:pt x="11529" y="52866"/>
                    <a:pt x="-2254" y="62486"/>
                    <a:pt x="313" y="76202"/>
                  </a:cubicBezTo>
                  <a:cubicBezTo>
                    <a:pt x="4875" y="100872"/>
                    <a:pt x="44228" y="93347"/>
                    <a:pt x="59057" y="85727"/>
                  </a:cubicBezTo>
                  <a:cubicBezTo>
                    <a:pt x="73886" y="78107"/>
                    <a:pt x="86053" y="65725"/>
                    <a:pt x="100121" y="57152"/>
                  </a:cubicBezTo>
                  <a:cubicBezTo>
                    <a:pt x="110102" y="50961"/>
                    <a:pt x="119987" y="47627"/>
                    <a:pt x="121604" y="35054"/>
                  </a:cubicBezTo>
                  <a:cubicBezTo>
                    <a:pt x="122079" y="27149"/>
                    <a:pt x="115045" y="-284"/>
                    <a:pt x="11247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15"/>
            <p:cNvSpPr/>
            <p:nvPr/>
          </p:nvSpPr>
          <p:spPr>
            <a:xfrm>
              <a:off x="5888421" y="4582665"/>
              <a:ext cx="121131" cy="63346"/>
            </a:xfrm>
            <a:custGeom>
              <a:avLst/>
              <a:gdLst/>
              <a:ahLst/>
              <a:cxnLst/>
              <a:rect l="l" t="t" r="r" b="b"/>
              <a:pathLst>
                <a:path w="121131" h="63346" extrusionOk="0">
                  <a:moveTo>
                    <a:pt x="120910" y="0"/>
                  </a:moveTo>
                  <a:cubicBezTo>
                    <a:pt x="118914" y="12192"/>
                    <a:pt x="109219" y="15526"/>
                    <a:pt x="99238" y="21717"/>
                  </a:cubicBezTo>
                  <a:cubicBezTo>
                    <a:pt x="84979" y="30575"/>
                    <a:pt x="72432" y="43434"/>
                    <a:pt x="57604" y="50959"/>
                  </a:cubicBezTo>
                  <a:cubicBezTo>
                    <a:pt x="42775" y="58484"/>
                    <a:pt x="9601" y="64770"/>
                    <a:pt x="0" y="47244"/>
                  </a:cubicBezTo>
                  <a:cubicBezTo>
                    <a:pt x="5228" y="70961"/>
                    <a:pt x="43916" y="63532"/>
                    <a:pt x="58554" y="56007"/>
                  </a:cubicBezTo>
                  <a:cubicBezTo>
                    <a:pt x="73193" y="48482"/>
                    <a:pt x="85550" y="36004"/>
                    <a:pt x="99618" y="27432"/>
                  </a:cubicBezTo>
                  <a:cubicBezTo>
                    <a:pt x="109599" y="21241"/>
                    <a:pt x="119484" y="17907"/>
                    <a:pt x="121101" y="5334"/>
                  </a:cubicBezTo>
                  <a:cubicBezTo>
                    <a:pt x="121177" y="3553"/>
                    <a:pt x="121110" y="1772"/>
                    <a:pt x="12091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15"/>
            <p:cNvSpPr/>
            <p:nvPr/>
          </p:nvSpPr>
          <p:spPr>
            <a:xfrm>
              <a:off x="5795742" y="4532466"/>
              <a:ext cx="111395" cy="86487"/>
            </a:xfrm>
            <a:custGeom>
              <a:avLst/>
              <a:gdLst/>
              <a:ahLst/>
              <a:cxnLst/>
              <a:rect l="l" t="t" r="r" b="b"/>
              <a:pathLst>
                <a:path w="111395" h="86487" extrusionOk="0">
                  <a:moveTo>
                    <a:pt x="102659" y="2"/>
                  </a:moveTo>
                  <a:cubicBezTo>
                    <a:pt x="89257" y="10956"/>
                    <a:pt x="69105" y="4765"/>
                    <a:pt x="68154" y="5812"/>
                  </a:cubicBezTo>
                  <a:cubicBezTo>
                    <a:pt x="52537" y="19109"/>
                    <a:pt x="36225" y="31578"/>
                    <a:pt x="19296" y="43151"/>
                  </a:cubicBezTo>
                  <a:cubicBezTo>
                    <a:pt x="10931" y="49723"/>
                    <a:pt x="-2091" y="58486"/>
                    <a:pt x="285" y="71059"/>
                  </a:cubicBezTo>
                  <a:cubicBezTo>
                    <a:pt x="4467" y="93633"/>
                    <a:pt x="40493" y="86680"/>
                    <a:pt x="54181" y="79822"/>
                  </a:cubicBezTo>
                  <a:cubicBezTo>
                    <a:pt x="67869" y="72964"/>
                    <a:pt x="78800" y="61438"/>
                    <a:pt x="91728" y="53437"/>
                  </a:cubicBezTo>
                  <a:cubicBezTo>
                    <a:pt x="101234" y="47722"/>
                    <a:pt x="109884" y="44770"/>
                    <a:pt x="111309" y="33149"/>
                  </a:cubicBezTo>
                  <a:cubicBezTo>
                    <a:pt x="112260" y="26101"/>
                    <a:pt x="105036" y="-283"/>
                    <a:pt x="102659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15"/>
            <p:cNvSpPr/>
            <p:nvPr/>
          </p:nvSpPr>
          <p:spPr>
            <a:xfrm>
              <a:off x="5796313" y="4560948"/>
              <a:ext cx="110894" cy="58013"/>
            </a:xfrm>
            <a:custGeom>
              <a:avLst/>
              <a:gdLst/>
              <a:ahLst/>
              <a:cxnLst/>
              <a:rect l="l" t="t" r="r" b="b"/>
              <a:pathLst>
                <a:path w="110894" h="58013" extrusionOk="0">
                  <a:moveTo>
                    <a:pt x="110644" y="0"/>
                  </a:moveTo>
                  <a:cubicBezTo>
                    <a:pt x="108838" y="11144"/>
                    <a:pt x="99903" y="14192"/>
                    <a:pt x="90778" y="19812"/>
                  </a:cubicBezTo>
                  <a:cubicBezTo>
                    <a:pt x="77755" y="28004"/>
                    <a:pt x="66254" y="39719"/>
                    <a:pt x="52756" y="46672"/>
                  </a:cubicBezTo>
                  <a:cubicBezTo>
                    <a:pt x="39258" y="53626"/>
                    <a:pt x="8840" y="59341"/>
                    <a:pt x="0" y="43244"/>
                  </a:cubicBezTo>
                  <a:cubicBezTo>
                    <a:pt x="4753" y="64961"/>
                    <a:pt x="40208" y="58198"/>
                    <a:pt x="53706" y="51340"/>
                  </a:cubicBezTo>
                  <a:cubicBezTo>
                    <a:pt x="67204" y="44482"/>
                    <a:pt x="78325" y="32956"/>
                    <a:pt x="91253" y="24955"/>
                  </a:cubicBezTo>
                  <a:cubicBezTo>
                    <a:pt x="100758" y="19240"/>
                    <a:pt x="109408" y="16288"/>
                    <a:pt x="110834" y="4667"/>
                  </a:cubicBezTo>
                  <a:cubicBezTo>
                    <a:pt x="110958" y="3105"/>
                    <a:pt x="110891" y="1543"/>
                    <a:pt x="11064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15"/>
            <p:cNvSpPr/>
            <p:nvPr/>
          </p:nvSpPr>
          <p:spPr>
            <a:xfrm>
              <a:off x="5813683" y="3728558"/>
              <a:ext cx="237954" cy="833275"/>
            </a:xfrm>
            <a:custGeom>
              <a:avLst/>
              <a:gdLst/>
              <a:ahLst/>
              <a:cxnLst/>
              <a:rect l="l" t="t" r="r" b="b"/>
              <a:pathLst>
                <a:path w="237954" h="833275" extrusionOk="0">
                  <a:moveTo>
                    <a:pt x="6013" y="123825"/>
                  </a:moveTo>
                  <a:cubicBezTo>
                    <a:pt x="12477" y="73342"/>
                    <a:pt x="31013" y="0"/>
                    <a:pt x="31013" y="0"/>
                  </a:cubicBezTo>
                  <a:cubicBezTo>
                    <a:pt x="48541" y="8201"/>
                    <a:pt x="67495" y="12897"/>
                    <a:pt x="86810" y="13811"/>
                  </a:cubicBezTo>
                  <a:cubicBezTo>
                    <a:pt x="115136" y="13716"/>
                    <a:pt x="143396" y="10973"/>
                    <a:pt x="171219" y="5620"/>
                  </a:cubicBezTo>
                  <a:cubicBezTo>
                    <a:pt x="180287" y="21517"/>
                    <a:pt x="190220" y="36909"/>
                    <a:pt x="200971" y="51721"/>
                  </a:cubicBezTo>
                  <a:cubicBezTo>
                    <a:pt x="215515" y="71914"/>
                    <a:pt x="243746" y="116109"/>
                    <a:pt x="236902" y="193357"/>
                  </a:cubicBezTo>
                  <a:cubicBezTo>
                    <a:pt x="232435" y="243840"/>
                    <a:pt x="204203" y="458248"/>
                    <a:pt x="204203" y="458248"/>
                  </a:cubicBezTo>
                  <a:cubicBezTo>
                    <a:pt x="215201" y="494290"/>
                    <a:pt x="221056" y="531714"/>
                    <a:pt x="221598" y="569405"/>
                  </a:cubicBezTo>
                  <a:cubicBezTo>
                    <a:pt x="218937" y="614229"/>
                    <a:pt x="213024" y="658796"/>
                    <a:pt x="203918" y="702755"/>
                  </a:cubicBezTo>
                  <a:lnTo>
                    <a:pt x="187093" y="824389"/>
                  </a:lnTo>
                  <a:cubicBezTo>
                    <a:pt x="187093" y="824389"/>
                    <a:pt x="164660" y="840676"/>
                    <a:pt x="149071" y="829151"/>
                  </a:cubicBezTo>
                  <a:lnTo>
                    <a:pt x="151067" y="710089"/>
                  </a:lnTo>
                  <a:cubicBezTo>
                    <a:pt x="149166" y="680942"/>
                    <a:pt x="146219" y="637984"/>
                    <a:pt x="144413" y="610552"/>
                  </a:cubicBezTo>
                  <a:cubicBezTo>
                    <a:pt x="141371" y="565785"/>
                    <a:pt x="133387" y="494824"/>
                    <a:pt x="131106" y="477202"/>
                  </a:cubicBezTo>
                  <a:cubicBezTo>
                    <a:pt x="128824" y="459581"/>
                    <a:pt x="123121" y="428434"/>
                    <a:pt x="120364" y="393763"/>
                  </a:cubicBezTo>
                  <a:cubicBezTo>
                    <a:pt x="117608" y="359092"/>
                    <a:pt x="104680" y="182594"/>
                    <a:pt x="104680" y="182594"/>
                  </a:cubicBezTo>
                  <a:lnTo>
                    <a:pt x="102874" y="215646"/>
                  </a:lnTo>
                  <a:cubicBezTo>
                    <a:pt x="102874" y="215646"/>
                    <a:pt x="101068" y="269272"/>
                    <a:pt x="93369" y="335470"/>
                  </a:cubicBezTo>
                  <a:cubicBezTo>
                    <a:pt x="85669" y="401669"/>
                    <a:pt x="83008" y="430720"/>
                    <a:pt x="83008" y="430720"/>
                  </a:cubicBezTo>
                  <a:cubicBezTo>
                    <a:pt x="90308" y="444074"/>
                    <a:pt x="95412" y="458514"/>
                    <a:pt x="98121" y="473488"/>
                  </a:cubicBezTo>
                  <a:cubicBezTo>
                    <a:pt x="99452" y="487775"/>
                    <a:pt x="115707" y="600932"/>
                    <a:pt x="106011" y="658463"/>
                  </a:cubicBezTo>
                  <a:lnTo>
                    <a:pt x="85954" y="804863"/>
                  </a:lnTo>
                  <a:cubicBezTo>
                    <a:pt x="75869" y="811882"/>
                    <a:pt x="63018" y="813587"/>
                    <a:pt x="51449" y="809434"/>
                  </a:cubicBezTo>
                  <a:lnTo>
                    <a:pt x="39663" y="661892"/>
                  </a:lnTo>
                  <a:cubicBezTo>
                    <a:pt x="31773" y="605790"/>
                    <a:pt x="15043" y="486823"/>
                    <a:pt x="12477" y="471392"/>
                  </a:cubicBezTo>
                  <a:cubicBezTo>
                    <a:pt x="6773" y="440226"/>
                    <a:pt x="3408" y="408670"/>
                    <a:pt x="2401" y="376999"/>
                  </a:cubicBezTo>
                  <a:cubicBezTo>
                    <a:pt x="-1782" y="312991"/>
                    <a:pt x="-451" y="174212"/>
                    <a:pt x="6013" y="12382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15"/>
            <p:cNvSpPr/>
            <p:nvPr/>
          </p:nvSpPr>
          <p:spPr>
            <a:xfrm>
              <a:off x="5803516" y="3708175"/>
              <a:ext cx="253612" cy="553963"/>
            </a:xfrm>
            <a:custGeom>
              <a:avLst/>
              <a:gdLst/>
              <a:ahLst/>
              <a:cxnLst/>
              <a:rect l="l" t="t" r="r" b="b"/>
              <a:pathLst>
                <a:path w="253612" h="553963" extrusionOk="0">
                  <a:moveTo>
                    <a:pt x="181386" y="6572"/>
                  </a:moveTo>
                  <a:lnTo>
                    <a:pt x="224731" y="93726"/>
                  </a:lnTo>
                  <a:cubicBezTo>
                    <a:pt x="224731" y="93726"/>
                    <a:pt x="291270" y="190690"/>
                    <a:pt x="222355" y="439960"/>
                  </a:cubicBezTo>
                  <a:lnTo>
                    <a:pt x="235187" y="516922"/>
                  </a:lnTo>
                  <a:cubicBezTo>
                    <a:pt x="235187" y="516922"/>
                    <a:pt x="105532" y="600265"/>
                    <a:pt x="18746" y="516922"/>
                  </a:cubicBezTo>
                  <a:cubicBezTo>
                    <a:pt x="18746" y="516922"/>
                    <a:pt x="-11291" y="286512"/>
                    <a:pt x="4678" y="180308"/>
                  </a:cubicBezTo>
                  <a:cubicBezTo>
                    <a:pt x="13613" y="119272"/>
                    <a:pt x="27121" y="59007"/>
                    <a:pt x="45077" y="0"/>
                  </a:cubicBezTo>
                  <a:cubicBezTo>
                    <a:pt x="45077" y="0"/>
                    <a:pt x="66369" y="23527"/>
                    <a:pt x="175683" y="8001"/>
                  </a:cubicBezTo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p15"/>
            <p:cNvSpPr/>
            <p:nvPr/>
          </p:nvSpPr>
          <p:spPr>
            <a:xfrm>
              <a:off x="5812662" y="3486508"/>
              <a:ext cx="71005" cy="74600"/>
            </a:xfrm>
            <a:custGeom>
              <a:avLst/>
              <a:gdLst/>
              <a:ahLst/>
              <a:cxnLst/>
              <a:rect l="l" t="t" r="r" b="b"/>
              <a:pathLst>
                <a:path w="71005" h="74600" extrusionOk="0">
                  <a:moveTo>
                    <a:pt x="71006" y="496"/>
                  </a:moveTo>
                  <a:cubicBezTo>
                    <a:pt x="71006" y="496"/>
                    <a:pt x="36596" y="-10077"/>
                    <a:pt x="0" y="66409"/>
                  </a:cubicBezTo>
                  <a:lnTo>
                    <a:pt x="13688" y="74600"/>
                  </a:lnTo>
                  <a:cubicBezTo>
                    <a:pt x="13688" y="74600"/>
                    <a:pt x="49714" y="20117"/>
                    <a:pt x="71006" y="49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15"/>
            <p:cNvSpPr/>
            <p:nvPr/>
          </p:nvSpPr>
          <p:spPr>
            <a:xfrm>
              <a:off x="5614947" y="3815235"/>
              <a:ext cx="254367" cy="147732"/>
            </a:xfrm>
            <a:custGeom>
              <a:avLst/>
              <a:gdLst/>
              <a:ahLst/>
              <a:cxnLst/>
              <a:rect l="l" t="t" r="r" b="b"/>
              <a:pathLst>
                <a:path w="254367" h="147732" extrusionOk="0">
                  <a:moveTo>
                    <a:pt x="0" y="86201"/>
                  </a:moveTo>
                  <a:lnTo>
                    <a:pt x="148096" y="0"/>
                  </a:lnTo>
                  <a:lnTo>
                    <a:pt x="254368" y="61436"/>
                  </a:lnTo>
                  <a:lnTo>
                    <a:pt x="106272" y="147733"/>
                  </a:lnTo>
                  <a:lnTo>
                    <a:pt x="0" y="8620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15"/>
            <p:cNvSpPr/>
            <p:nvPr/>
          </p:nvSpPr>
          <p:spPr>
            <a:xfrm>
              <a:off x="5694413" y="3821487"/>
              <a:ext cx="53706" cy="44771"/>
            </a:xfrm>
            <a:custGeom>
              <a:avLst/>
              <a:gdLst/>
              <a:ahLst/>
              <a:cxnLst/>
              <a:rect l="l" t="t" r="r" b="b"/>
              <a:pathLst>
                <a:path w="53706" h="44771" extrusionOk="0">
                  <a:moveTo>
                    <a:pt x="49524" y="35"/>
                  </a:moveTo>
                  <a:cubicBezTo>
                    <a:pt x="40237" y="968"/>
                    <a:pt x="31254" y="3892"/>
                    <a:pt x="23194" y="8607"/>
                  </a:cubicBezTo>
                  <a:cubicBezTo>
                    <a:pt x="20228" y="11198"/>
                    <a:pt x="17053" y="13522"/>
                    <a:pt x="13688" y="15561"/>
                  </a:cubicBezTo>
                  <a:cubicBezTo>
                    <a:pt x="12262" y="16227"/>
                    <a:pt x="10836" y="17180"/>
                    <a:pt x="9315" y="17846"/>
                  </a:cubicBezTo>
                  <a:cubicBezTo>
                    <a:pt x="7053" y="18675"/>
                    <a:pt x="5000" y="20009"/>
                    <a:pt x="3327" y="21752"/>
                  </a:cubicBezTo>
                  <a:cubicBezTo>
                    <a:pt x="1673" y="24200"/>
                    <a:pt x="780" y="27086"/>
                    <a:pt x="760" y="30038"/>
                  </a:cubicBezTo>
                  <a:cubicBezTo>
                    <a:pt x="0" y="33572"/>
                    <a:pt x="-190" y="37211"/>
                    <a:pt x="190" y="40802"/>
                  </a:cubicBezTo>
                  <a:cubicBezTo>
                    <a:pt x="1521" y="46136"/>
                    <a:pt x="7034" y="45660"/>
                    <a:pt x="9696" y="41945"/>
                  </a:cubicBezTo>
                  <a:cubicBezTo>
                    <a:pt x="11141" y="40088"/>
                    <a:pt x="11968" y="37821"/>
                    <a:pt x="12072" y="35468"/>
                  </a:cubicBezTo>
                  <a:cubicBezTo>
                    <a:pt x="12234" y="30905"/>
                    <a:pt x="14562" y="26686"/>
                    <a:pt x="18346" y="24133"/>
                  </a:cubicBezTo>
                  <a:lnTo>
                    <a:pt x="53706" y="2130"/>
                  </a:lnTo>
                  <a:cubicBezTo>
                    <a:pt x="52870" y="644"/>
                    <a:pt x="51216" y="-184"/>
                    <a:pt x="49524" y="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15"/>
            <p:cNvSpPr/>
            <p:nvPr/>
          </p:nvSpPr>
          <p:spPr>
            <a:xfrm>
              <a:off x="5775008" y="3530248"/>
              <a:ext cx="253611" cy="322722"/>
            </a:xfrm>
            <a:custGeom>
              <a:avLst/>
              <a:gdLst/>
              <a:ahLst/>
              <a:cxnLst/>
              <a:rect l="l" t="t" r="r" b="b"/>
              <a:pathLst>
                <a:path w="253611" h="322722" extrusionOk="0">
                  <a:moveTo>
                    <a:pt x="250673" y="25527"/>
                  </a:moveTo>
                  <a:cubicBezTo>
                    <a:pt x="245826" y="5334"/>
                    <a:pt x="230046" y="11811"/>
                    <a:pt x="216453" y="0"/>
                  </a:cubicBezTo>
                  <a:cubicBezTo>
                    <a:pt x="184990" y="44672"/>
                    <a:pt x="205902" y="165449"/>
                    <a:pt x="210180" y="178308"/>
                  </a:cubicBezTo>
                  <a:lnTo>
                    <a:pt x="89270" y="255556"/>
                  </a:lnTo>
                  <a:lnTo>
                    <a:pt x="89270" y="255556"/>
                  </a:lnTo>
                  <a:lnTo>
                    <a:pt x="81095" y="260604"/>
                  </a:lnTo>
                  <a:cubicBezTo>
                    <a:pt x="67331" y="269662"/>
                    <a:pt x="52131" y="276301"/>
                    <a:pt x="36134" y="280225"/>
                  </a:cubicBezTo>
                  <a:cubicBezTo>
                    <a:pt x="24062" y="281654"/>
                    <a:pt x="17788" y="298704"/>
                    <a:pt x="4860" y="300228"/>
                  </a:cubicBezTo>
                  <a:cubicBezTo>
                    <a:pt x="2075" y="300333"/>
                    <a:pt x="-92" y="302666"/>
                    <a:pt x="3" y="305457"/>
                  </a:cubicBezTo>
                  <a:cubicBezTo>
                    <a:pt x="51" y="306753"/>
                    <a:pt x="602" y="307991"/>
                    <a:pt x="1533" y="308896"/>
                  </a:cubicBezTo>
                  <a:cubicBezTo>
                    <a:pt x="6667" y="313849"/>
                    <a:pt x="20545" y="309753"/>
                    <a:pt x="30050" y="298704"/>
                  </a:cubicBezTo>
                  <a:cubicBezTo>
                    <a:pt x="30002" y="298952"/>
                    <a:pt x="30002" y="299218"/>
                    <a:pt x="30050" y="299466"/>
                  </a:cubicBezTo>
                  <a:cubicBezTo>
                    <a:pt x="30202" y="303057"/>
                    <a:pt x="32227" y="306314"/>
                    <a:pt x="35373" y="308038"/>
                  </a:cubicBezTo>
                  <a:cubicBezTo>
                    <a:pt x="36067" y="308458"/>
                    <a:pt x="36846" y="308724"/>
                    <a:pt x="37655" y="308800"/>
                  </a:cubicBezTo>
                  <a:cubicBezTo>
                    <a:pt x="37655" y="309610"/>
                    <a:pt x="37883" y="310401"/>
                    <a:pt x="38320" y="311087"/>
                  </a:cubicBezTo>
                  <a:cubicBezTo>
                    <a:pt x="39708" y="313925"/>
                    <a:pt x="42417" y="315887"/>
                    <a:pt x="45544" y="316325"/>
                  </a:cubicBezTo>
                  <a:lnTo>
                    <a:pt x="45544" y="316325"/>
                  </a:lnTo>
                  <a:cubicBezTo>
                    <a:pt x="46941" y="320335"/>
                    <a:pt x="50820" y="322945"/>
                    <a:pt x="55050" y="322707"/>
                  </a:cubicBezTo>
                  <a:cubicBezTo>
                    <a:pt x="57825" y="322564"/>
                    <a:pt x="60439" y="321373"/>
                    <a:pt x="62369" y="319373"/>
                  </a:cubicBezTo>
                  <a:cubicBezTo>
                    <a:pt x="72682" y="315430"/>
                    <a:pt x="81789" y="308867"/>
                    <a:pt x="88794" y="300323"/>
                  </a:cubicBezTo>
                  <a:cubicBezTo>
                    <a:pt x="94982" y="293875"/>
                    <a:pt x="101522" y="287769"/>
                    <a:pt x="108375" y="282035"/>
                  </a:cubicBezTo>
                  <a:cubicBezTo>
                    <a:pt x="141170" y="267843"/>
                    <a:pt x="239552" y="225742"/>
                    <a:pt x="243924" y="219742"/>
                  </a:cubicBezTo>
                  <a:cubicBezTo>
                    <a:pt x="250768" y="210693"/>
                    <a:pt x="257707" y="54102"/>
                    <a:pt x="250673" y="2552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15"/>
            <p:cNvSpPr/>
            <p:nvPr/>
          </p:nvSpPr>
          <p:spPr>
            <a:xfrm>
              <a:off x="5965891" y="3514431"/>
              <a:ext cx="72720" cy="103595"/>
            </a:xfrm>
            <a:custGeom>
              <a:avLst/>
              <a:gdLst/>
              <a:ahLst/>
              <a:cxnLst/>
              <a:rect l="l" t="t" r="r" b="b"/>
              <a:pathLst>
                <a:path w="72720" h="103595" extrusionOk="0">
                  <a:moveTo>
                    <a:pt x="70816" y="95541"/>
                  </a:moveTo>
                  <a:cubicBezTo>
                    <a:pt x="70816" y="95541"/>
                    <a:pt x="32129" y="112876"/>
                    <a:pt x="0" y="96684"/>
                  </a:cubicBezTo>
                  <a:lnTo>
                    <a:pt x="4658" y="36009"/>
                  </a:lnTo>
                  <a:cubicBezTo>
                    <a:pt x="4658" y="36009"/>
                    <a:pt x="5133" y="3434"/>
                    <a:pt x="34125" y="195"/>
                  </a:cubicBezTo>
                  <a:cubicBezTo>
                    <a:pt x="63117" y="-3043"/>
                    <a:pt x="78325" y="34200"/>
                    <a:pt x="70816" y="9554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0" name="Google Shape;500;p15"/>
            <p:cNvGrpSpPr/>
            <p:nvPr/>
          </p:nvGrpSpPr>
          <p:grpSpPr>
            <a:xfrm flipH="1">
              <a:off x="2865273" y="3434801"/>
              <a:ext cx="598186" cy="1340314"/>
              <a:chOff x="4210728" y="4525714"/>
              <a:chExt cx="546438" cy="1224366"/>
            </a:xfrm>
          </p:grpSpPr>
          <p:sp>
            <p:nvSpPr>
              <p:cNvPr id="501" name="Google Shape;501;p15"/>
              <p:cNvSpPr/>
              <p:nvPr/>
            </p:nvSpPr>
            <p:spPr>
              <a:xfrm>
                <a:off x="4672107" y="4726590"/>
                <a:ext cx="85002" cy="305847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502;p15"/>
              <p:cNvSpPr/>
              <p:nvPr/>
            </p:nvSpPr>
            <p:spPr>
              <a:xfrm>
                <a:off x="4408366" y="5679962"/>
                <a:ext cx="123900" cy="70118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503;p15"/>
              <p:cNvSpPr/>
              <p:nvPr/>
            </p:nvSpPr>
            <p:spPr>
              <a:xfrm>
                <a:off x="4408245" y="5691663"/>
                <a:ext cx="121939" cy="58416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15"/>
              <p:cNvSpPr/>
              <p:nvPr/>
            </p:nvSpPr>
            <p:spPr>
              <a:xfrm>
                <a:off x="4566152" y="5600798"/>
                <a:ext cx="119416" cy="67472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505;p15"/>
              <p:cNvSpPr/>
              <p:nvPr/>
            </p:nvSpPr>
            <p:spPr>
              <a:xfrm>
                <a:off x="4566197" y="5611939"/>
                <a:ext cx="117340" cy="56332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5"/>
              <p:cNvSpPr/>
              <p:nvPr/>
            </p:nvSpPr>
            <p:spPr>
              <a:xfrm>
                <a:off x="4483409" y="4968525"/>
                <a:ext cx="238054" cy="732926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15"/>
              <p:cNvSpPr/>
              <p:nvPr/>
            </p:nvSpPr>
            <p:spPr>
              <a:xfrm>
                <a:off x="4484426" y="4968525"/>
                <a:ext cx="236925" cy="409866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15"/>
              <p:cNvSpPr/>
              <p:nvPr/>
            </p:nvSpPr>
            <p:spPr>
              <a:xfrm>
                <a:off x="4531702" y="4525767"/>
                <a:ext cx="160521" cy="258577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15"/>
              <p:cNvSpPr/>
              <p:nvPr/>
            </p:nvSpPr>
            <p:spPr>
              <a:xfrm>
                <a:off x="4695825" y="4756088"/>
                <a:ext cx="61341" cy="108805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15"/>
              <p:cNvSpPr/>
              <p:nvPr/>
            </p:nvSpPr>
            <p:spPr>
              <a:xfrm>
                <a:off x="4523612" y="4724507"/>
                <a:ext cx="191546" cy="273865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15"/>
              <p:cNvSpPr/>
              <p:nvPr/>
            </p:nvSpPr>
            <p:spPr>
              <a:xfrm>
                <a:off x="4210728" y="4780936"/>
                <a:ext cx="368747" cy="265455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15"/>
              <p:cNvSpPr/>
              <p:nvPr/>
            </p:nvSpPr>
            <p:spPr>
              <a:xfrm>
                <a:off x="4484370" y="4765472"/>
                <a:ext cx="100785" cy="104755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15"/>
              <p:cNvSpPr/>
              <p:nvPr/>
            </p:nvSpPr>
            <p:spPr>
              <a:xfrm>
                <a:off x="4524935" y="4525714"/>
                <a:ext cx="201012" cy="328692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3118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ssumptions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6</a:t>
            </a:fld>
            <a:endParaRPr/>
          </a:p>
        </p:txBody>
      </p:sp>
      <p:grpSp>
        <p:nvGrpSpPr>
          <p:cNvPr id="348" name="Google Shape;348;p13"/>
          <p:cNvGrpSpPr/>
          <p:nvPr/>
        </p:nvGrpSpPr>
        <p:grpSpPr>
          <a:xfrm>
            <a:off x="7339583" y="380988"/>
            <a:ext cx="1423417" cy="970812"/>
            <a:chOff x="6986665" y="3298709"/>
            <a:chExt cx="1817809" cy="1077669"/>
          </a:xfrm>
        </p:grpSpPr>
        <p:sp>
          <p:nvSpPr>
            <p:cNvPr id="349" name="Google Shape;349;p13"/>
            <p:cNvSpPr/>
            <p:nvPr/>
          </p:nvSpPr>
          <p:spPr>
            <a:xfrm>
              <a:off x="6986665" y="3342725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350;p13"/>
            <p:cNvSpPr/>
            <p:nvPr/>
          </p:nvSpPr>
          <p:spPr>
            <a:xfrm>
              <a:off x="7014156" y="3327342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351;p13"/>
            <p:cNvSpPr/>
            <p:nvPr/>
          </p:nvSpPr>
          <p:spPr>
            <a:xfrm>
              <a:off x="7014156" y="3298709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352;p13"/>
            <p:cNvSpPr/>
            <p:nvPr/>
          </p:nvSpPr>
          <p:spPr>
            <a:xfrm>
              <a:off x="7976493" y="3396565"/>
              <a:ext cx="664692" cy="383742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353;p13"/>
            <p:cNvSpPr/>
            <p:nvPr/>
          </p:nvSpPr>
          <p:spPr>
            <a:xfrm>
              <a:off x="7912754" y="3450709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354;p13"/>
            <p:cNvSpPr/>
            <p:nvPr/>
          </p:nvSpPr>
          <p:spPr>
            <a:xfrm>
              <a:off x="7863331" y="3479190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355;p13"/>
            <p:cNvSpPr/>
            <p:nvPr/>
          </p:nvSpPr>
          <p:spPr>
            <a:xfrm>
              <a:off x="7813984" y="3507747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356;p13"/>
            <p:cNvSpPr/>
            <p:nvPr/>
          </p:nvSpPr>
          <p:spPr>
            <a:xfrm>
              <a:off x="7451727" y="3699575"/>
              <a:ext cx="664616" cy="38374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357;p13"/>
            <p:cNvSpPr/>
            <p:nvPr/>
          </p:nvSpPr>
          <p:spPr>
            <a:xfrm>
              <a:off x="7387988" y="3753643"/>
              <a:ext cx="593293" cy="342595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13"/>
            <p:cNvSpPr/>
            <p:nvPr/>
          </p:nvSpPr>
          <p:spPr>
            <a:xfrm>
              <a:off x="7338565" y="3782200"/>
              <a:ext cx="582091" cy="33604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13"/>
            <p:cNvSpPr/>
            <p:nvPr/>
          </p:nvSpPr>
          <p:spPr>
            <a:xfrm>
              <a:off x="7289218" y="3810681"/>
              <a:ext cx="496671" cy="286816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360;p13"/>
            <p:cNvSpPr/>
            <p:nvPr/>
          </p:nvSpPr>
          <p:spPr>
            <a:xfrm>
              <a:off x="7582329" y="3561435"/>
              <a:ext cx="337413" cy="194766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13"/>
            <p:cNvSpPr/>
            <p:nvPr/>
          </p:nvSpPr>
          <p:spPr>
            <a:xfrm>
              <a:off x="7800200" y="3687162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362;p13"/>
            <p:cNvSpPr/>
            <p:nvPr/>
          </p:nvSpPr>
          <p:spPr>
            <a:xfrm>
              <a:off x="8018073" y="3812966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363;p13"/>
            <p:cNvSpPr/>
            <p:nvPr/>
          </p:nvSpPr>
          <p:spPr>
            <a:xfrm>
              <a:off x="7794459" y="3551002"/>
              <a:ext cx="540846" cy="312343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364;p13"/>
            <p:cNvSpPr/>
            <p:nvPr/>
          </p:nvSpPr>
          <p:spPr>
            <a:xfrm>
              <a:off x="7824798" y="3491907"/>
              <a:ext cx="470058" cy="181410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365;p13"/>
            <p:cNvSpPr/>
            <p:nvPr/>
          </p:nvSpPr>
          <p:spPr>
            <a:xfrm>
              <a:off x="7794490" y="3623727"/>
              <a:ext cx="41071" cy="82677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366;p13"/>
            <p:cNvSpPr/>
            <p:nvPr/>
          </p:nvSpPr>
          <p:spPr>
            <a:xfrm>
              <a:off x="8298847" y="3624184"/>
              <a:ext cx="36118" cy="82219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367;p13"/>
            <p:cNvSpPr/>
            <p:nvPr/>
          </p:nvSpPr>
          <p:spPr>
            <a:xfrm>
              <a:off x="7842237" y="3535238"/>
              <a:ext cx="450190" cy="259842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368;p13"/>
            <p:cNvSpPr/>
            <p:nvPr/>
          </p:nvSpPr>
          <p:spPr>
            <a:xfrm>
              <a:off x="7815050" y="3673683"/>
              <a:ext cx="491790" cy="17643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369;p13"/>
            <p:cNvSpPr/>
            <p:nvPr/>
          </p:nvSpPr>
          <p:spPr>
            <a:xfrm>
              <a:off x="7794490" y="3472184"/>
              <a:ext cx="540791" cy="312391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370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371;p13"/>
            <p:cNvSpPr/>
            <p:nvPr/>
          </p:nvSpPr>
          <p:spPr>
            <a:xfrm>
              <a:off x="7752377" y="3752957"/>
              <a:ext cx="148970" cy="86030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372;p13"/>
            <p:cNvSpPr/>
            <p:nvPr/>
          </p:nvSpPr>
          <p:spPr>
            <a:xfrm>
              <a:off x="7787483" y="3773138"/>
              <a:ext cx="113842" cy="106298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373;p13"/>
            <p:cNvSpPr/>
            <p:nvPr/>
          </p:nvSpPr>
          <p:spPr>
            <a:xfrm>
              <a:off x="7465892" y="3799784"/>
              <a:ext cx="345033" cy="254286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374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198" y="1351800"/>
            <a:ext cx="8104521" cy="2887291"/>
          </a:xfrm>
        </p:spPr>
        <p:txBody>
          <a:bodyPr/>
          <a:lstStyle/>
          <a:p>
            <a:r>
              <a:rPr lang="en-CA" dirty="0"/>
              <a:t>Data roles were scraped from Indeed on 15 December 2020</a:t>
            </a:r>
          </a:p>
          <a:p>
            <a:r>
              <a:rPr lang="en-CA" dirty="0"/>
              <a:t>Job titles were categorized for simplification purpose</a:t>
            </a:r>
          </a:p>
          <a:p>
            <a:endParaRPr lang="en-CA" dirty="0"/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957073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28652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xtrac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7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3CD8CF6-48EA-4809-BAC3-9EFADC4C5449}"/>
              </a:ext>
            </a:extLst>
          </p:cNvPr>
          <p:cNvSpPr txBox="1">
            <a:spLocks/>
          </p:cNvSpPr>
          <p:nvPr/>
        </p:nvSpPr>
        <p:spPr>
          <a:xfrm>
            <a:off x="457199" y="1351800"/>
            <a:ext cx="8930641" cy="379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Job postings from Indeed (Web Scrape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ca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com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sg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au</a:t>
            </a:r>
          </a:p>
          <a:p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Health and wellness surveys (csv) </a:t>
            </a:r>
          </a:p>
          <a:p>
            <a:pPr lvl="1"/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Kaggle</a:t>
            </a:r>
          </a:p>
          <a:p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Latitude and Longitude (API)</a:t>
            </a:r>
          </a:p>
          <a:p>
            <a:pPr lvl="1"/>
            <a:r>
              <a:rPr lang="en-CA" sz="1800" b="0" i="0" u="none" strike="noStrike" baseline="0" dirty="0">
                <a:solidFill>
                  <a:srgbClr val="000000"/>
                </a:solidFill>
              </a:rPr>
              <a:t>api.opencagedata.com</a:t>
            </a:r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marL="571500" lvl="1" indent="0">
              <a:buNone/>
            </a:pPr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	</a:t>
            </a:r>
          </a:p>
          <a:p>
            <a:endParaRPr lang="en-CA" dirty="0">
              <a:latin typeface="Barlow Light" panose="020B0604020202020204" charset="0"/>
            </a:endParaRPr>
          </a:p>
        </p:txBody>
      </p:sp>
      <p:pic>
        <p:nvPicPr>
          <p:cNvPr id="3074" name="Picture 2" descr="Image result for beautiful soup logo">
            <a:extLst>
              <a:ext uri="{FF2B5EF4-FFF2-40B4-BE49-F238E27FC236}">
                <a16:creationId xmlns:a16="http://schemas.microsoft.com/office/drawing/2014/main" id="{F5CB9060-7FCB-47D1-A9FB-5B05CED824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122" y="1351800"/>
            <a:ext cx="2944882" cy="1555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ransforma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8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0C0ECFD-2B7F-4EAA-8641-A744150483D5}"/>
              </a:ext>
            </a:extLst>
          </p:cNvPr>
          <p:cNvSpPr txBox="1">
            <a:spLocks/>
          </p:cNvSpPr>
          <p:nvPr/>
        </p:nvSpPr>
        <p:spPr>
          <a:xfrm>
            <a:off x="457199" y="1351800"/>
            <a:ext cx="5869459" cy="2887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Data inconsistencies</a:t>
            </a:r>
          </a:p>
          <a:p>
            <a:pPr lvl="1"/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Indeed job postings (location)</a:t>
            </a:r>
          </a:p>
          <a:p>
            <a:pPr lvl="1"/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Survey responses (gender, typos) </a:t>
            </a: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Foreign Keys </a:t>
            </a:r>
          </a:p>
          <a:p>
            <a:pPr lvl="1"/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Country code</a:t>
            </a:r>
          </a:p>
          <a:p>
            <a:pPr lvl="1"/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Job type code</a:t>
            </a: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endParaRPr lang="en-CA" dirty="0">
              <a:latin typeface="Barlow Light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61072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Load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9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74E0F9A-7FDE-4059-9CB1-9CD7A969DBF0}"/>
              </a:ext>
            </a:extLst>
          </p:cNvPr>
          <p:cNvSpPr txBox="1">
            <a:spLocks/>
          </p:cNvSpPr>
          <p:nvPr/>
        </p:nvSpPr>
        <p:spPr>
          <a:xfrm>
            <a:off x="457199" y="1351801"/>
            <a:ext cx="2151889" cy="1415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Relational database: Elephant SQL</a:t>
            </a:r>
          </a:p>
          <a:p>
            <a:pPr lvl="1"/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ERD</a:t>
            </a:r>
          </a:p>
          <a:p>
            <a:endParaRPr lang="en-CA" dirty="0">
              <a:latin typeface="Barlow Light" panose="020B0604020202020204" charset="0"/>
            </a:endParaRPr>
          </a:p>
        </p:txBody>
      </p:sp>
      <p:pic>
        <p:nvPicPr>
          <p:cNvPr id="4098" name="Picture 2" descr="Image result for elephant sql logo">
            <a:extLst>
              <a:ext uri="{FF2B5EF4-FFF2-40B4-BE49-F238E27FC236}">
                <a16:creationId xmlns:a16="http://schemas.microsoft.com/office/drawing/2014/main" id="{C50BF038-1D52-4F70-AE6A-26BAD6B054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701" y="3235090"/>
            <a:ext cx="1974883" cy="1533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图片 4">
            <a:extLst>
              <a:ext uri="{FF2B5EF4-FFF2-40B4-BE49-F238E27FC236}">
                <a16:creationId xmlns:a16="http://schemas.microsoft.com/office/drawing/2014/main" id="{CCCD3D14-9E36-4F15-8AC2-EBD730ADF68F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2962656" y="184946"/>
            <a:ext cx="5992923" cy="4716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6140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8</TotalTime>
  <Words>991</Words>
  <Application>Microsoft Office PowerPoint</Application>
  <PresentationFormat>On-screen Show (16:9)</PresentationFormat>
  <Paragraphs>172</Paragraphs>
  <Slides>25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8" baseType="lpstr">
      <vt:lpstr>Barlow</vt:lpstr>
      <vt:lpstr>Barlow SemiBold</vt:lpstr>
      <vt:lpstr>Montserrat</vt:lpstr>
      <vt:lpstr>Courier New</vt:lpstr>
      <vt:lpstr>Raleway</vt:lpstr>
      <vt:lpstr>Calibri</vt:lpstr>
      <vt:lpstr>Wingdings</vt:lpstr>
      <vt:lpstr>Arial</vt:lpstr>
      <vt:lpstr>Barlow Light</vt:lpstr>
      <vt:lpstr>Georgia</vt:lpstr>
      <vt:lpstr>Raleway Thin</vt:lpstr>
      <vt:lpstr>Gaoler template</vt:lpstr>
      <vt:lpstr>think-cell Slide</vt:lpstr>
      <vt:lpstr>Data Science  Jobs Market</vt:lpstr>
      <vt:lpstr>Agenda</vt:lpstr>
      <vt:lpstr>Project motivation</vt:lpstr>
      <vt:lpstr>PowerPoint Presentation</vt:lpstr>
      <vt:lpstr>ETL Process</vt:lpstr>
      <vt:lpstr>Assumptions</vt:lpstr>
      <vt:lpstr>Extraction</vt:lpstr>
      <vt:lpstr>Transformation</vt:lpstr>
      <vt:lpstr>Load</vt:lpstr>
      <vt:lpstr>The loaded database</vt:lpstr>
      <vt:lpstr>Dashboard Creation Process</vt:lpstr>
      <vt:lpstr>Apps Structure</vt:lpstr>
      <vt:lpstr>Dashboard Design</vt:lpstr>
      <vt:lpstr>Results</vt:lpstr>
      <vt:lpstr>App Launching</vt:lpstr>
      <vt:lpstr>Summary of Insights</vt:lpstr>
      <vt:lpstr>9,871</vt:lpstr>
      <vt:lpstr>Summary</vt:lpstr>
      <vt:lpstr>PowerPoint Presentation</vt:lpstr>
      <vt:lpstr>PowerPoint Presentation</vt:lpstr>
      <vt:lpstr>Usage Instructions</vt:lpstr>
      <vt:lpstr>Future Work</vt:lpstr>
      <vt:lpstr>Future Work</vt:lpstr>
      <vt:lpstr>THANKS!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Thao Hoang</dc:creator>
  <cp:lastModifiedBy>Thao Hoang</cp:lastModifiedBy>
  <cp:revision>5</cp:revision>
  <dcterms:modified xsi:type="dcterms:W3CDTF">2021-02-17T23:08:19Z</dcterms:modified>
</cp:coreProperties>
</file>